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22"/>
  </p:notesMasterIdLst>
  <p:handoutMasterIdLst>
    <p:handoutMasterId r:id="rId23"/>
  </p:handoutMasterIdLst>
  <p:sldIdLst>
    <p:sldId id="256" r:id="rId5"/>
    <p:sldId id="1752" r:id="rId6"/>
    <p:sldId id="258" r:id="rId7"/>
    <p:sldId id="271" r:id="rId8"/>
    <p:sldId id="285" r:id="rId9"/>
    <p:sldId id="295" r:id="rId10"/>
    <p:sldId id="262" r:id="rId11"/>
    <p:sldId id="268" r:id="rId12"/>
    <p:sldId id="263" r:id="rId13"/>
    <p:sldId id="267" r:id="rId14"/>
    <p:sldId id="1753" r:id="rId15"/>
    <p:sldId id="1754" r:id="rId16"/>
    <p:sldId id="264" r:id="rId17"/>
    <p:sldId id="273" r:id="rId18"/>
    <p:sldId id="265" r:id="rId19"/>
    <p:sldId id="283" r:id="rId20"/>
    <p:sldId id="261" r:id="rId21"/>
  </p:sldIdLst>
  <p:sldSz cx="12192000" cy="6858000"/>
  <p:notesSz cx="6858000" cy="9144000"/>
  <p:custDataLst>
    <p:tags r:id="rId2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0000"/>
    <a:srgbClr val="A40000"/>
    <a:srgbClr val="9E0000"/>
    <a:srgbClr val="C7450B"/>
    <a:srgbClr val="E24E0C"/>
    <a:srgbClr val="DC6140"/>
    <a:srgbClr val="E60000"/>
    <a:srgbClr val="C9670D"/>
    <a:srgbClr val="66B5C9"/>
    <a:srgbClr val="EDB1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FD4203-D9ED-440C-90F0-E44693686A18}" v="111" dt="2018-07-30T02:23:45.02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182" autoAdjust="0"/>
  </p:normalViewPr>
  <p:slideViewPr>
    <p:cSldViewPr snapToGrid="0">
      <p:cViewPr varScale="1">
        <p:scale>
          <a:sx n="85" d="100"/>
          <a:sy n="85" d="100"/>
        </p:scale>
        <p:origin x="590" y="5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成平 曾" userId="fd1918ea-2df8-4eee-b319-b4160af742b7" providerId="ADAL" clId="{25AB174D-796C-4582-8DA1-6AF1126328A7}"/>
    <pc:docChg chg="custSel delSld modSld sldOrd">
      <pc:chgData name="成平 曾" userId="fd1918ea-2df8-4eee-b319-b4160af742b7" providerId="ADAL" clId="{25AB174D-796C-4582-8DA1-6AF1126328A7}" dt="2018-07-30T02:16:04.191" v="105"/>
      <pc:docMkLst>
        <pc:docMk/>
      </pc:docMkLst>
      <pc:sldChg chg="addSp delSp modSp modTransition">
        <pc:chgData name="成平 曾" userId="fd1918ea-2df8-4eee-b319-b4160af742b7" providerId="ADAL" clId="{25AB174D-796C-4582-8DA1-6AF1126328A7}" dt="2018-07-30T02:14:18.036" v="53"/>
        <pc:sldMkLst>
          <pc:docMk/>
          <pc:sldMk cId="745032783" sldId="263"/>
        </pc:sldMkLst>
        <pc:spChg chg="add del mod">
          <ac:chgData name="成平 曾" userId="fd1918ea-2df8-4eee-b319-b4160af742b7" providerId="ADAL" clId="{25AB174D-796C-4582-8DA1-6AF1126328A7}" dt="2018-07-30T02:14:17.809" v="52" actId="478"/>
          <ac:spMkLst>
            <pc:docMk/>
            <pc:sldMk cId="745032783" sldId="263"/>
            <ac:spMk id="30" creationId="{0084FEA1-D889-44E5-9742-EB131E0431E7}"/>
          </ac:spMkLst>
        </pc:spChg>
        <pc:spChg chg="add">
          <ac:chgData name="成平 曾" userId="fd1918ea-2df8-4eee-b319-b4160af742b7" providerId="ADAL" clId="{25AB174D-796C-4582-8DA1-6AF1126328A7}" dt="2018-07-30T02:14:18.036" v="53"/>
          <ac:spMkLst>
            <pc:docMk/>
            <pc:sldMk cId="745032783" sldId="263"/>
            <ac:spMk id="31" creationId="{DAE001C2-4C13-4B81-8DEF-587F0475D5C3}"/>
          </ac:spMkLst>
        </pc:spChg>
      </pc:sldChg>
      <pc:sldChg chg="addSp modTransition">
        <pc:chgData name="成平 曾" userId="fd1918ea-2df8-4eee-b319-b4160af742b7" providerId="ADAL" clId="{25AB174D-796C-4582-8DA1-6AF1126328A7}" dt="2018-07-30T02:14:20.113" v="54"/>
        <pc:sldMkLst>
          <pc:docMk/>
          <pc:sldMk cId="1646487189" sldId="264"/>
        </pc:sldMkLst>
        <pc:spChg chg="add">
          <ac:chgData name="成平 曾" userId="fd1918ea-2df8-4eee-b319-b4160af742b7" providerId="ADAL" clId="{25AB174D-796C-4582-8DA1-6AF1126328A7}" dt="2018-07-30T02:14:20.113" v="54"/>
          <ac:spMkLst>
            <pc:docMk/>
            <pc:sldMk cId="1646487189" sldId="264"/>
            <ac:spMk id="47" creationId="{E5DEE5E9-29F9-4569-B160-ED6B322E481B}"/>
          </ac:spMkLst>
        </pc:spChg>
      </pc:sldChg>
      <pc:sldChg chg="addSp modSp ord modTransition">
        <pc:chgData name="成平 曾" userId="fd1918ea-2df8-4eee-b319-b4160af742b7" providerId="ADAL" clId="{25AB174D-796C-4582-8DA1-6AF1126328A7}" dt="2018-07-30T02:14:09.341" v="51" actId="14100"/>
        <pc:sldMkLst>
          <pc:docMk/>
          <pc:sldMk cId="2958572277" sldId="265"/>
        </pc:sldMkLst>
        <pc:spChg chg="add mod">
          <ac:chgData name="成平 曾" userId="fd1918ea-2df8-4eee-b319-b4160af742b7" providerId="ADAL" clId="{25AB174D-796C-4582-8DA1-6AF1126328A7}" dt="2018-07-30T02:14:09.341" v="51" actId="14100"/>
          <ac:spMkLst>
            <pc:docMk/>
            <pc:sldMk cId="2958572277" sldId="265"/>
            <ac:spMk id="66" creationId="{F9F18485-26E6-4463-9EA4-7BEC48527BBB}"/>
          </ac:spMkLst>
        </pc:spChg>
      </pc:sldChg>
      <pc:sldChg chg="addSp modSp modTransition">
        <pc:chgData name="成平 曾" userId="fd1918ea-2df8-4eee-b319-b4160af742b7" providerId="ADAL" clId="{25AB174D-796C-4582-8DA1-6AF1126328A7}" dt="2018-07-30T02:15:58.807" v="104"/>
        <pc:sldMkLst>
          <pc:docMk/>
          <pc:sldMk cId="194311464" sldId="266"/>
        </pc:sldMkLst>
        <pc:spChg chg="add mod">
          <ac:chgData name="成平 曾" userId="fd1918ea-2df8-4eee-b319-b4160af742b7" providerId="ADAL" clId="{25AB174D-796C-4582-8DA1-6AF1126328A7}" dt="2018-07-30T02:15:58.807" v="104"/>
          <ac:spMkLst>
            <pc:docMk/>
            <pc:sldMk cId="194311464" sldId="266"/>
            <ac:spMk id="89" creationId="{F056E86D-4F76-48FC-8B09-A2BE84DC2E44}"/>
          </ac:spMkLst>
        </pc:spChg>
      </pc:sldChg>
      <pc:sldChg chg="del">
        <pc:chgData name="成平 曾" userId="fd1918ea-2df8-4eee-b319-b4160af742b7" providerId="ADAL" clId="{25AB174D-796C-4582-8DA1-6AF1126328A7}" dt="2018-07-30T02:12:01.316" v="4" actId="2696"/>
        <pc:sldMkLst>
          <pc:docMk/>
          <pc:sldMk cId="4053583199" sldId="267"/>
        </pc:sldMkLst>
      </pc:sldChg>
      <pc:sldChg chg="del">
        <pc:chgData name="成平 曾" userId="fd1918ea-2df8-4eee-b319-b4160af742b7" providerId="ADAL" clId="{25AB174D-796C-4582-8DA1-6AF1126328A7}" dt="2018-07-30T02:12:01.275" v="0" actId="2696"/>
        <pc:sldMkLst>
          <pc:docMk/>
          <pc:sldMk cId="558770741" sldId="270"/>
        </pc:sldMkLst>
      </pc:sldChg>
      <pc:sldChg chg="del">
        <pc:chgData name="成平 曾" userId="fd1918ea-2df8-4eee-b319-b4160af742b7" providerId="ADAL" clId="{25AB174D-796C-4582-8DA1-6AF1126328A7}" dt="2018-07-30T02:12:01.303" v="3" actId="2696"/>
        <pc:sldMkLst>
          <pc:docMk/>
          <pc:sldMk cId="1820242946" sldId="274"/>
        </pc:sldMkLst>
      </pc:sldChg>
      <pc:sldChg chg="del">
        <pc:chgData name="成平 曾" userId="fd1918ea-2df8-4eee-b319-b4160af742b7" providerId="ADAL" clId="{25AB174D-796C-4582-8DA1-6AF1126328A7}" dt="2018-07-30T02:12:01.333" v="6" actId="2696"/>
        <pc:sldMkLst>
          <pc:docMk/>
          <pc:sldMk cId="477884624" sldId="275"/>
        </pc:sldMkLst>
      </pc:sldChg>
      <pc:sldChg chg="del">
        <pc:chgData name="成平 曾" userId="fd1918ea-2df8-4eee-b319-b4160af742b7" providerId="ADAL" clId="{25AB174D-796C-4582-8DA1-6AF1126328A7}" dt="2018-07-30T02:12:01.340" v="7" actId="2696"/>
        <pc:sldMkLst>
          <pc:docMk/>
          <pc:sldMk cId="2782375922" sldId="276"/>
        </pc:sldMkLst>
      </pc:sldChg>
      <pc:sldChg chg="del">
        <pc:chgData name="成平 曾" userId="fd1918ea-2df8-4eee-b319-b4160af742b7" providerId="ADAL" clId="{25AB174D-796C-4582-8DA1-6AF1126328A7}" dt="2018-07-30T02:12:01.324" v="5" actId="2696"/>
        <pc:sldMkLst>
          <pc:docMk/>
          <pc:sldMk cId="2088582390" sldId="277"/>
        </pc:sldMkLst>
      </pc:sldChg>
      <pc:sldChg chg="del">
        <pc:chgData name="成平 曾" userId="fd1918ea-2df8-4eee-b319-b4160af742b7" providerId="ADAL" clId="{25AB174D-796C-4582-8DA1-6AF1126328A7}" dt="2018-07-30T02:12:01.292" v="2" actId="2696"/>
        <pc:sldMkLst>
          <pc:docMk/>
          <pc:sldMk cId="761741927" sldId="279"/>
        </pc:sldMkLst>
      </pc:sldChg>
      <pc:sldChg chg="del">
        <pc:chgData name="成平 曾" userId="fd1918ea-2df8-4eee-b319-b4160af742b7" providerId="ADAL" clId="{25AB174D-796C-4582-8DA1-6AF1126328A7}" dt="2018-07-30T02:12:01.284" v="1" actId="2696"/>
        <pc:sldMkLst>
          <pc:docMk/>
          <pc:sldMk cId="3420189757" sldId="281"/>
        </pc:sldMkLst>
      </pc:sldChg>
      <pc:sldChg chg="addSp modTransition">
        <pc:chgData name="成平 曾" userId="fd1918ea-2df8-4eee-b319-b4160af742b7" providerId="ADAL" clId="{25AB174D-796C-4582-8DA1-6AF1126328A7}" dt="2018-07-30T02:16:04.191" v="105"/>
        <pc:sldMkLst>
          <pc:docMk/>
          <pc:sldMk cId="3563110417" sldId="282"/>
        </pc:sldMkLst>
        <pc:spChg chg="add">
          <ac:chgData name="成平 曾" userId="fd1918ea-2df8-4eee-b319-b4160af742b7" providerId="ADAL" clId="{25AB174D-796C-4582-8DA1-6AF1126328A7}" dt="2018-07-30T02:16:04.191" v="105"/>
          <ac:spMkLst>
            <pc:docMk/>
            <pc:sldMk cId="3563110417" sldId="282"/>
            <ac:spMk id="68" creationId="{6587B3EC-A802-406A-8E1F-EF102EC71C6C}"/>
          </ac:spMkLst>
        </pc:spChg>
      </pc:sldChg>
    </pc:docChg>
  </pc:docChgLst>
  <pc:docChgLst>
    <pc:chgData name="成平 曾" userId="fd1918ea-2df8-4eee-b319-b4160af742b7" providerId="ADAL" clId="{8DFD4203-D9ED-440C-90F0-E44693686A18}"/>
    <pc:docChg chg="custSel addSld modSld">
      <pc:chgData name="成平 曾" userId="fd1918ea-2df8-4eee-b319-b4160af742b7" providerId="ADAL" clId="{8DFD4203-D9ED-440C-90F0-E44693686A18}" dt="2018-07-30T02:23:45.022" v="3"/>
      <pc:docMkLst>
        <pc:docMk/>
      </pc:docMkLst>
      <pc:sldChg chg="addSp delSp add modTransition">
        <pc:chgData name="成平 曾" userId="fd1918ea-2df8-4eee-b319-b4160af742b7" providerId="ADAL" clId="{8DFD4203-D9ED-440C-90F0-E44693686A18}" dt="2018-07-30T02:23:45.022" v="3"/>
        <pc:sldMkLst>
          <pc:docMk/>
          <pc:sldMk cId="545778957" sldId="259"/>
        </pc:sldMkLst>
        <pc:spChg chg="add">
          <ac:chgData name="成平 曾" userId="fd1918ea-2df8-4eee-b319-b4160af742b7" providerId="ADAL" clId="{8DFD4203-D9ED-440C-90F0-E44693686A18}" dt="2018-07-30T02:23:45.022" v="3"/>
          <ac:spMkLst>
            <pc:docMk/>
            <pc:sldMk cId="545778957" sldId="259"/>
            <ac:spMk id="45" creationId="{691C252C-F4D2-4CE4-9EB3-ED2888C92C09}"/>
          </ac:spMkLst>
        </pc:spChg>
        <pc:spChg chg="del">
          <ac:chgData name="成平 曾" userId="fd1918ea-2df8-4eee-b319-b4160af742b7" providerId="ADAL" clId="{8DFD4203-D9ED-440C-90F0-E44693686A18}" dt="2018-07-30T02:23:44.728" v="2" actId="478"/>
          <ac:spMkLst>
            <pc:docMk/>
            <pc:sldMk cId="545778957" sldId="259"/>
            <ac:spMk id="51" creationId="{DB6B50C1-7119-4649-A59E-12A0D311364C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2/10/13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10/1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>
            <a:extLst>
              <a:ext uri="{FF2B5EF4-FFF2-40B4-BE49-F238E27FC236}">
                <a16:creationId xmlns:a16="http://schemas.microsoft.com/office/drawing/2014/main" id="{50E76845-F854-45BF-81FC-3E29C16B3A42}"/>
              </a:ext>
            </a:extLst>
          </p:cNvPr>
          <p:cNvSpPr/>
          <p:nvPr userDrawn="1"/>
        </p:nvSpPr>
        <p:spPr>
          <a:xfrm>
            <a:off x="0" y="-11430"/>
            <a:ext cx="12192000" cy="6880225"/>
          </a:xfrm>
          <a:prstGeom prst="rect">
            <a:avLst/>
          </a:prstGeom>
          <a:gradFill flip="none" rotWithShape="1">
            <a:gsLst>
              <a:gs pos="0">
                <a:srgbClr val="24248B">
                  <a:alpha val="100000"/>
                </a:srgbClr>
              </a:gs>
              <a:gs pos="100000">
                <a:srgbClr val="0B00A6">
                  <a:alpha val="90000"/>
                </a:srgb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5" name="任意多边形: 形状 14">
            <a:extLst>
              <a:ext uri="{FF2B5EF4-FFF2-40B4-BE49-F238E27FC236}">
                <a16:creationId xmlns:a16="http://schemas.microsoft.com/office/drawing/2014/main" id="{1C6DBB1D-C3C1-4146-A785-B7449D4C7294}"/>
              </a:ext>
            </a:extLst>
          </p:cNvPr>
          <p:cNvSpPr/>
          <p:nvPr userDrawn="1"/>
        </p:nvSpPr>
        <p:spPr>
          <a:xfrm>
            <a:off x="0" y="-11430"/>
            <a:ext cx="12192000" cy="6880225"/>
          </a:xfrm>
          <a:custGeom>
            <a:avLst/>
            <a:gdLst>
              <a:gd name="connsiteX0" fmla="*/ 6103145 w 12192000"/>
              <a:gd name="connsiteY0" fmla="*/ 3432493 h 6880225"/>
              <a:gd name="connsiteX1" fmla="*/ 0 w 12192000"/>
              <a:gd name="connsiteY1" fmla="*/ 4561448 h 6880225"/>
              <a:gd name="connsiteX2" fmla="*/ 0 w 12192000"/>
              <a:gd name="connsiteY2" fmla="*/ 4020931 h 6880225"/>
              <a:gd name="connsiteX3" fmla="*/ 6103145 w 12192000"/>
              <a:gd name="connsiteY3" fmla="*/ 3432493 h 6880225"/>
              <a:gd name="connsiteX4" fmla="*/ 0 w 12192000"/>
              <a:gd name="connsiteY4" fmla="*/ 6757447 h 6880225"/>
              <a:gd name="connsiteX5" fmla="*/ 0 w 12192000"/>
              <a:gd name="connsiteY5" fmla="*/ 6101209 h 6880225"/>
              <a:gd name="connsiteX6" fmla="*/ 6103145 w 12192000"/>
              <a:gd name="connsiteY6" fmla="*/ 3432493 h 6880225"/>
              <a:gd name="connsiteX7" fmla="*/ 2853198 w 12192000"/>
              <a:gd name="connsiteY7" fmla="*/ 6880225 h 6880225"/>
              <a:gd name="connsiteX8" fmla="*/ 2235128 w 12192000"/>
              <a:gd name="connsiteY8" fmla="*/ 6880225 h 6880225"/>
              <a:gd name="connsiteX9" fmla="*/ 6103145 w 12192000"/>
              <a:gd name="connsiteY9" fmla="*/ 3432493 h 6880225"/>
              <a:gd name="connsiteX10" fmla="*/ 4482320 w 12192000"/>
              <a:gd name="connsiteY10" fmla="*/ 6880225 h 6880225"/>
              <a:gd name="connsiteX11" fmla="*/ 4100306 w 12192000"/>
              <a:gd name="connsiteY11" fmla="*/ 6880225 h 6880225"/>
              <a:gd name="connsiteX12" fmla="*/ 6103145 w 12192000"/>
              <a:gd name="connsiteY12" fmla="*/ 3432493 h 6880225"/>
              <a:gd name="connsiteX13" fmla="*/ 5678028 w 12192000"/>
              <a:gd name="connsiteY13" fmla="*/ 6880225 h 6880225"/>
              <a:gd name="connsiteX14" fmla="*/ 5368958 w 12192000"/>
              <a:gd name="connsiteY14" fmla="*/ 6880225 h 6880225"/>
              <a:gd name="connsiteX15" fmla="*/ 6103145 w 12192000"/>
              <a:gd name="connsiteY15" fmla="*/ 3432493 h 6880225"/>
              <a:gd name="connsiteX16" fmla="*/ 6780177 w 12192000"/>
              <a:gd name="connsiteY16" fmla="*/ 6880225 h 6880225"/>
              <a:gd name="connsiteX17" fmla="*/ 6474029 w 12192000"/>
              <a:gd name="connsiteY17" fmla="*/ 6880225 h 6880225"/>
              <a:gd name="connsiteX18" fmla="*/ 6103145 w 12192000"/>
              <a:gd name="connsiteY18" fmla="*/ 3432493 h 6880225"/>
              <a:gd name="connsiteX19" fmla="*/ 8033477 w 12192000"/>
              <a:gd name="connsiteY19" fmla="*/ 6880225 h 6880225"/>
              <a:gd name="connsiteX20" fmla="*/ 7657317 w 12192000"/>
              <a:gd name="connsiteY20" fmla="*/ 6880225 h 6880225"/>
              <a:gd name="connsiteX21" fmla="*/ 6103145 w 12192000"/>
              <a:gd name="connsiteY21" fmla="*/ 3432493 h 6880225"/>
              <a:gd name="connsiteX22" fmla="*/ 9848054 w 12192000"/>
              <a:gd name="connsiteY22" fmla="*/ 6880225 h 6880225"/>
              <a:gd name="connsiteX23" fmla="*/ 9252221 w 12192000"/>
              <a:gd name="connsiteY23" fmla="*/ 6880225 h 6880225"/>
              <a:gd name="connsiteX24" fmla="*/ 6103145 w 12192000"/>
              <a:gd name="connsiteY24" fmla="*/ 3432493 h 6880225"/>
              <a:gd name="connsiteX25" fmla="*/ 12192000 w 12192000"/>
              <a:gd name="connsiteY25" fmla="*/ 6211392 h 6880225"/>
              <a:gd name="connsiteX26" fmla="*/ 12192000 w 12192000"/>
              <a:gd name="connsiteY26" fmla="*/ 6876631 h 6880225"/>
              <a:gd name="connsiteX27" fmla="*/ 6103145 w 12192000"/>
              <a:gd name="connsiteY27" fmla="*/ 3432493 h 6880225"/>
              <a:gd name="connsiteX28" fmla="*/ 12192000 w 12192000"/>
              <a:gd name="connsiteY28" fmla="*/ 4118345 h 6880225"/>
              <a:gd name="connsiteX29" fmla="*/ 12192000 w 12192000"/>
              <a:gd name="connsiteY29" fmla="*/ 4658400 h 6880225"/>
              <a:gd name="connsiteX30" fmla="*/ 12192000 w 12192000"/>
              <a:gd name="connsiteY30" fmla="*/ 2173903 h 6880225"/>
              <a:gd name="connsiteX31" fmla="*/ 12192000 w 12192000"/>
              <a:gd name="connsiteY31" fmla="*/ 2716891 h 6880225"/>
              <a:gd name="connsiteX32" fmla="*/ 6103145 w 12192000"/>
              <a:gd name="connsiteY32" fmla="*/ 3432493 h 6880225"/>
              <a:gd name="connsiteX33" fmla="*/ 0 w 12192000"/>
              <a:gd name="connsiteY33" fmla="*/ 2071218 h 6880225"/>
              <a:gd name="connsiteX34" fmla="*/ 6103145 w 12192000"/>
              <a:gd name="connsiteY34" fmla="*/ 3432493 h 6880225"/>
              <a:gd name="connsiteX35" fmla="*/ 0 w 12192000"/>
              <a:gd name="connsiteY35" fmla="*/ 2616963 h 6880225"/>
              <a:gd name="connsiteX36" fmla="*/ 0 w 12192000"/>
              <a:gd name="connsiteY36" fmla="*/ 148474 h 6880225"/>
              <a:gd name="connsiteX37" fmla="*/ 6103145 w 12192000"/>
              <a:gd name="connsiteY37" fmla="*/ 3432493 h 6880225"/>
              <a:gd name="connsiteX38" fmla="*/ 0 w 12192000"/>
              <a:gd name="connsiteY38" fmla="*/ 799973 h 6880225"/>
              <a:gd name="connsiteX39" fmla="*/ 12104097 w 12192000"/>
              <a:gd name="connsiteY39" fmla="*/ 0 h 6880225"/>
              <a:gd name="connsiteX40" fmla="*/ 12160929 w 12192000"/>
              <a:gd name="connsiteY40" fmla="*/ 0 h 6880225"/>
              <a:gd name="connsiteX41" fmla="*/ 12192000 w 12192000"/>
              <a:gd name="connsiteY41" fmla="*/ 46316 h 6880225"/>
              <a:gd name="connsiteX42" fmla="*/ 12192000 w 12192000"/>
              <a:gd name="connsiteY42" fmla="*/ 618291 h 6880225"/>
              <a:gd name="connsiteX43" fmla="*/ 6103145 w 12192000"/>
              <a:gd name="connsiteY43" fmla="*/ 3432493 h 6880225"/>
              <a:gd name="connsiteX44" fmla="*/ 9206322 w 12192000"/>
              <a:gd name="connsiteY44" fmla="*/ 0 h 6880225"/>
              <a:gd name="connsiteX45" fmla="*/ 9794157 w 12192000"/>
              <a:gd name="connsiteY45" fmla="*/ 0 h 6880225"/>
              <a:gd name="connsiteX46" fmla="*/ 6103145 w 12192000"/>
              <a:gd name="connsiteY46" fmla="*/ 3432493 h 6880225"/>
              <a:gd name="connsiteX47" fmla="*/ 7630317 w 12192000"/>
              <a:gd name="connsiteY47" fmla="*/ 0 h 6880225"/>
              <a:gd name="connsiteX48" fmla="*/ 8002009 w 12192000"/>
              <a:gd name="connsiteY48" fmla="*/ 0 h 6880225"/>
              <a:gd name="connsiteX49" fmla="*/ 6103145 w 12192000"/>
              <a:gd name="connsiteY49" fmla="*/ 3432493 h 6880225"/>
              <a:gd name="connsiteX50" fmla="*/ 6455216 w 12192000"/>
              <a:gd name="connsiteY50" fmla="*/ 0 h 6880225"/>
              <a:gd name="connsiteX51" fmla="*/ 6759624 w 12192000"/>
              <a:gd name="connsiteY51" fmla="*/ 0 h 6880225"/>
              <a:gd name="connsiteX52" fmla="*/ 6103145 w 12192000"/>
              <a:gd name="connsiteY52" fmla="*/ 3432493 h 6880225"/>
              <a:gd name="connsiteX53" fmla="*/ 5355068 w 12192000"/>
              <a:gd name="connsiteY53" fmla="*/ 0 h 6880225"/>
              <a:gd name="connsiteX54" fmla="*/ 5661858 w 12192000"/>
              <a:gd name="connsiteY54" fmla="*/ 0 h 6880225"/>
              <a:gd name="connsiteX55" fmla="*/ 6103145 w 12192000"/>
              <a:gd name="connsiteY55" fmla="*/ 3432493 h 6880225"/>
              <a:gd name="connsiteX56" fmla="*/ 4086169 w 12192000"/>
              <a:gd name="connsiteY56" fmla="*/ 0 h 6880225"/>
              <a:gd name="connsiteX57" fmla="*/ 4468543 w 12192000"/>
              <a:gd name="connsiteY57" fmla="*/ 0 h 6880225"/>
              <a:gd name="connsiteX58" fmla="*/ 6103145 w 12192000"/>
              <a:gd name="connsiteY58" fmla="*/ 3432493 h 6880225"/>
              <a:gd name="connsiteX59" fmla="*/ 2216456 w 12192000"/>
              <a:gd name="connsiteY59" fmla="*/ 0 h 6880225"/>
              <a:gd name="connsiteX60" fmla="*/ 2834512 w 12192000"/>
              <a:gd name="connsiteY60" fmla="*/ 0 h 6880225"/>
              <a:gd name="connsiteX61" fmla="*/ 6103145 w 12192000"/>
              <a:gd name="connsiteY61" fmla="*/ 3432493 h 6880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12192000" h="6880225">
                <a:moveTo>
                  <a:pt x="6103145" y="3432493"/>
                </a:moveTo>
                <a:lnTo>
                  <a:pt x="0" y="4561448"/>
                </a:lnTo>
                <a:lnTo>
                  <a:pt x="0" y="4020931"/>
                </a:lnTo>
                <a:close/>
                <a:moveTo>
                  <a:pt x="6103145" y="3432493"/>
                </a:moveTo>
                <a:lnTo>
                  <a:pt x="0" y="6757447"/>
                </a:lnTo>
                <a:lnTo>
                  <a:pt x="0" y="6101209"/>
                </a:lnTo>
                <a:close/>
                <a:moveTo>
                  <a:pt x="6103145" y="3432493"/>
                </a:moveTo>
                <a:lnTo>
                  <a:pt x="2853198" y="6880225"/>
                </a:lnTo>
                <a:lnTo>
                  <a:pt x="2235128" y="6880225"/>
                </a:lnTo>
                <a:close/>
                <a:moveTo>
                  <a:pt x="6103145" y="3432493"/>
                </a:moveTo>
                <a:lnTo>
                  <a:pt x="4482320" y="6880225"/>
                </a:lnTo>
                <a:lnTo>
                  <a:pt x="4100306" y="6880225"/>
                </a:lnTo>
                <a:close/>
                <a:moveTo>
                  <a:pt x="6103145" y="3432493"/>
                </a:moveTo>
                <a:lnTo>
                  <a:pt x="5678028" y="6880225"/>
                </a:lnTo>
                <a:lnTo>
                  <a:pt x="5368958" y="6880225"/>
                </a:lnTo>
                <a:close/>
                <a:moveTo>
                  <a:pt x="6103145" y="3432493"/>
                </a:moveTo>
                <a:lnTo>
                  <a:pt x="6780177" y="6880225"/>
                </a:lnTo>
                <a:lnTo>
                  <a:pt x="6474029" y="6880225"/>
                </a:lnTo>
                <a:close/>
                <a:moveTo>
                  <a:pt x="6103145" y="3432493"/>
                </a:moveTo>
                <a:lnTo>
                  <a:pt x="8033477" y="6880225"/>
                </a:lnTo>
                <a:lnTo>
                  <a:pt x="7657317" y="6880225"/>
                </a:lnTo>
                <a:close/>
                <a:moveTo>
                  <a:pt x="6103145" y="3432493"/>
                </a:moveTo>
                <a:lnTo>
                  <a:pt x="9848054" y="6880225"/>
                </a:lnTo>
                <a:lnTo>
                  <a:pt x="9252221" y="6880225"/>
                </a:lnTo>
                <a:close/>
                <a:moveTo>
                  <a:pt x="6103145" y="3432493"/>
                </a:moveTo>
                <a:lnTo>
                  <a:pt x="12192000" y="6211392"/>
                </a:lnTo>
                <a:lnTo>
                  <a:pt x="12192000" y="6876631"/>
                </a:lnTo>
                <a:close/>
                <a:moveTo>
                  <a:pt x="6103145" y="3432493"/>
                </a:moveTo>
                <a:lnTo>
                  <a:pt x="12192000" y="4118345"/>
                </a:lnTo>
                <a:lnTo>
                  <a:pt x="12192000" y="4658400"/>
                </a:lnTo>
                <a:close/>
                <a:moveTo>
                  <a:pt x="12192000" y="2173903"/>
                </a:moveTo>
                <a:lnTo>
                  <a:pt x="12192000" y="2716891"/>
                </a:lnTo>
                <a:lnTo>
                  <a:pt x="6103145" y="3432493"/>
                </a:lnTo>
                <a:close/>
                <a:moveTo>
                  <a:pt x="0" y="2071218"/>
                </a:moveTo>
                <a:lnTo>
                  <a:pt x="6103145" y="3432493"/>
                </a:lnTo>
                <a:lnTo>
                  <a:pt x="0" y="2616963"/>
                </a:lnTo>
                <a:close/>
                <a:moveTo>
                  <a:pt x="0" y="148474"/>
                </a:moveTo>
                <a:lnTo>
                  <a:pt x="6103145" y="3432493"/>
                </a:lnTo>
                <a:lnTo>
                  <a:pt x="0" y="799973"/>
                </a:lnTo>
                <a:close/>
                <a:moveTo>
                  <a:pt x="12104097" y="0"/>
                </a:moveTo>
                <a:lnTo>
                  <a:pt x="12160929" y="0"/>
                </a:lnTo>
                <a:lnTo>
                  <a:pt x="12192000" y="46316"/>
                </a:lnTo>
                <a:lnTo>
                  <a:pt x="12192000" y="618291"/>
                </a:lnTo>
                <a:lnTo>
                  <a:pt x="6103145" y="3432493"/>
                </a:lnTo>
                <a:close/>
                <a:moveTo>
                  <a:pt x="9206322" y="0"/>
                </a:moveTo>
                <a:lnTo>
                  <a:pt x="9794157" y="0"/>
                </a:lnTo>
                <a:lnTo>
                  <a:pt x="6103145" y="3432493"/>
                </a:lnTo>
                <a:close/>
                <a:moveTo>
                  <a:pt x="7630317" y="0"/>
                </a:moveTo>
                <a:lnTo>
                  <a:pt x="8002009" y="0"/>
                </a:lnTo>
                <a:lnTo>
                  <a:pt x="6103145" y="3432493"/>
                </a:lnTo>
                <a:close/>
                <a:moveTo>
                  <a:pt x="6455216" y="0"/>
                </a:moveTo>
                <a:lnTo>
                  <a:pt x="6759624" y="0"/>
                </a:lnTo>
                <a:lnTo>
                  <a:pt x="6103145" y="3432493"/>
                </a:lnTo>
                <a:close/>
                <a:moveTo>
                  <a:pt x="5355068" y="0"/>
                </a:moveTo>
                <a:lnTo>
                  <a:pt x="5661858" y="0"/>
                </a:lnTo>
                <a:lnTo>
                  <a:pt x="6103145" y="3432493"/>
                </a:lnTo>
                <a:close/>
                <a:moveTo>
                  <a:pt x="4086169" y="0"/>
                </a:moveTo>
                <a:lnTo>
                  <a:pt x="4468543" y="0"/>
                </a:lnTo>
                <a:lnTo>
                  <a:pt x="6103145" y="3432493"/>
                </a:lnTo>
                <a:close/>
                <a:moveTo>
                  <a:pt x="2216456" y="0"/>
                </a:moveTo>
                <a:lnTo>
                  <a:pt x="2834512" y="0"/>
                </a:lnTo>
                <a:lnTo>
                  <a:pt x="6103145" y="3432493"/>
                </a:lnTo>
                <a:close/>
              </a:path>
            </a:pathLst>
          </a:custGeom>
          <a:solidFill>
            <a:schemeClr val="bg1">
              <a:alpha val="1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6" name="矩形: 剪去对角 15">
            <a:extLst>
              <a:ext uri="{FF2B5EF4-FFF2-40B4-BE49-F238E27FC236}">
                <a16:creationId xmlns:a16="http://schemas.microsoft.com/office/drawing/2014/main" id="{AD7ED636-CC55-4155-B46C-745CE8540D16}"/>
              </a:ext>
            </a:extLst>
          </p:cNvPr>
          <p:cNvSpPr/>
          <p:nvPr userDrawn="1"/>
        </p:nvSpPr>
        <p:spPr>
          <a:xfrm>
            <a:off x="1015365" y="1439545"/>
            <a:ext cx="10659745" cy="3943985"/>
          </a:xfrm>
          <a:prstGeom prst="snip2DiagRect">
            <a:avLst/>
          </a:prstGeom>
          <a:solidFill>
            <a:srgbClr val="DFEEF8">
              <a:alpha val="77000"/>
            </a:srgb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矩形: 剪去对角 16">
            <a:extLst>
              <a:ext uri="{FF2B5EF4-FFF2-40B4-BE49-F238E27FC236}">
                <a16:creationId xmlns:a16="http://schemas.microsoft.com/office/drawing/2014/main" id="{96E43BDD-8B8A-4CDD-8732-9CCCBFF6791A}"/>
              </a:ext>
            </a:extLst>
          </p:cNvPr>
          <p:cNvSpPr/>
          <p:nvPr userDrawn="1"/>
        </p:nvSpPr>
        <p:spPr>
          <a:xfrm>
            <a:off x="765175" y="1189355"/>
            <a:ext cx="10659745" cy="3943985"/>
          </a:xfrm>
          <a:prstGeom prst="snip2DiagRect">
            <a:avLst/>
          </a:prstGeom>
          <a:pattFill prst="lgGrid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>
              <a:sym typeface="+mn-ea"/>
            </a:endParaRPr>
          </a:p>
        </p:txBody>
      </p:sp>
      <p:sp>
        <p:nvSpPr>
          <p:cNvPr id="18" name="任意多边形: 形状 17">
            <a:extLst>
              <a:ext uri="{FF2B5EF4-FFF2-40B4-BE49-F238E27FC236}">
                <a16:creationId xmlns:a16="http://schemas.microsoft.com/office/drawing/2014/main" id="{1E9494B0-11A3-4700-A3FD-2BF50455EFFE}"/>
              </a:ext>
            </a:extLst>
          </p:cNvPr>
          <p:cNvSpPr/>
          <p:nvPr userDrawn="1"/>
        </p:nvSpPr>
        <p:spPr>
          <a:xfrm rot="5400000" flipV="1">
            <a:off x="11163935" y="1166813"/>
            <a:ext cx="488315" cy="533400"/>
          </a:xfrm>
          <a:custGeom>
            <a:avLst/>
            <a:gdLst>
              <a:gd name="connsiteX0" fmla="*/ 0 w 1043"/>
              <a:gd name="connsiteY0" fmla="*/ 1137 h 1137"/>
              <a:gd name="connsiteX1" fmla="*/ 0 w 1043"/>
              <a:gd name="connsiteY1" fmla="*/ 0 h 1137"/>
              <a:gd name="connsiteX2" fmla="*/ 1043 w 1043"/>
              <a:gd name="connsiteY2" fmla="*/ 1068 h 1137"/>
              <a:gd name="connsiteX3" fmla="*/ 0 w 1043"/>
              <a:gd name="connsiteY3" fmla="*/ 1137 h 1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3" h="1137">
                <a:moveTo>
                  <a:pt x="0" y="1137"/>
                </a:moveTo>
                <a:lnTo>
                  <a:pt x="0" y="0"/>
                </a:lnTo>
                <a:lnTo>
                  <a:pt x="1043" y="1068"/>
                </a:lnTo>
                <a:lnTo>
                  <a:pt x="0" y="1137"/>
                </a:lnTo>
                <a:close/>
              </a:path>
            </a:pathLst>
          </a:custGeom>
          <a:pattFill prst="lgGrid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>
              <a:sym typeface="+mn-ea"/>
            </a:endParaRPr>
          </a:p>
        </p:txBody>
      </p:sp>
      <p:sp>
        <p:nvSpPr>
          <p:cNvPr id="19" name="任意多边形: 形状 18">
            <a:extLst>
              <a:ext uri="{FF2B5EF4-FFF2-40B4-BE49-F238E27FC236}">
                <a16:creationId xmlns:a16="http://schemas.microsoft.com/office/drawing/2014/main" id="{8C54E1E0-63F9-43FF-8DF6-CFA0DCFCBA5A}"/>
              </a:ext>
            </a:extLst>
          </p:cNvPr>
          <p:cNvSpPr/>
          <p:nvPr userDrawn="1"/>
        </p:nvSpPr>
        <p:spPr>
          <a:xfrm rot="16200000" flipV="1">
            <a:off x="504190" y="4872673"/>
            <a:ext cx="488315" cy="533400"/>
          </a:xfrm>
          <a:custGeom>
            <a:avLst/>
            <a:gdLst>
              <a:gd name="connsiteX0" fmla="*/ 0 w 1043"/>
              <a:gd name="connsiteY0" fmla="*/ 1137 h 1137"/>
              <a:gd name="connsiteX1" fmla="*/ 0 w 1043"/>
              <a:gd name="connsiteY1" fmla="*/ 0 h 1137"/>
              <a:gd name="connsiteX2" fmla="*/ 1043 w 1043"/>
              <a:gd name="connsiteY2" fmla="*/ 1068 h 1137"/>
              <a:gd name="connsiteX3" fmla="*/ 0 w 1043"/>
              <a:gd name="connsiteY3" fmla="*/ 1137 h 1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3" h="1137">
                <a:moveTo>
                  <a:pt x="0" y="1137"/>
                </a:moveTo>
                <a:lnTo>
                  <a:pt x="0" y="0"/>
                </a:lnTo>
                <a:lnTo>
                  <a:pt x="1043" y="1068"/>
                </a:lnTo>
                <a:lnTo>
                  <a:pt x="0" y="1137"/>
                </a:lnTo>
                <a:close/>
              </a:path>
            </a:pathLst>
          </a:custGeom>
          <a:solidFill>
            <a:srgbClr val="DFEEF8">
              <a:alpha val="77000"/>
            </a:srgb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>
              <a:sym typeface="+mn-ea"/>
            </a:endParaRPr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396093" y="3025184"/>
            <a:ext cx="9399815" cy="558799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1396093" y="1773937"/>
            <a:ext cx="9399815" cy="1251248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805991"/>
            <a:ext cx="4874532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544457" y="5805991"/>
            <a:ext cx="5971268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>
            <a:extLst>
              <a:ext uri="{FF2B5EF4-FFF2-40B4-BE49-F238E27FC236}">
                <a16:creationId xmlns:a16="http://schemas.microsoft.com/office/drawing/2014/main" id="{018C1882-4A31-4DAE-AEC5-60EC34510F5F}"/>
              </a:ext>
            </a:extLst>
          </p:cNvPr>
          <p:cNvGrpSpPr/>
          <p:nvPr userDrawn="1"/>
        </p:nvGrpSpPr>
        <p:grpSpPr>
          <a:xfrm>
            <a:off x="1685547" y="1698806"/>
            <a:ext cx="8917136" cy="3400478"/>
            <a:chOff x="1774525" y="1721213"/>
            <a:chExt cx="8917136" cy="3881631"/>
          </a:xfrm>
        </p:grpSpPr>
        <p:sp>
          <p:nvSpPr>
            <p:cNvPr id="4" name="矩形: 剪去对角 3">
              <a:extLst>
                <a:ext uri="{FF2B5EF4-FFF2-40B4-BE49-F238E27FC236}">
                  <a16:creationId xmlns:a16="http://schemas.microsoft.com/office/drawing/2014/main" id="{0EC9A0B5-7F65-441B-9C1B-15639E747C03}"/>
                </a:ext>
              </a:extLst>
            </p:cNvPr>
            <p:cNvSpPr/>
            <p:nvPr userDrawn="1"/>
          </p:nvSpPr>
          <p:spPr>
            <a:xfrm>
              <a:off x="1909656" y="1721214"/>
              <a:ext cx="8685774" cy="3705859"/>
            </a:xfrm>
            <a:prstGeom prst="snip2DiagRect">
              <a:avLst/>
            </a:prstGeom>
            <a:gradFill flip="none" rotWithShape="1">
              <a:gsLst>
                <a:gs pos="0">
                  <a:srgbClr val="24248B">
                    <a:alpha val="100000"/>
                  </a:srgbClr>
                </a:gs>
                <a:gs pos="100000">
                  <a:srgbClr val="0B00A6">
                    <a:alpha val="90000"/>
                  </a:srgb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/>
            </a:p>
          </p:txBody>
        </p:sp>
        <p:grpSp>
          <p:nvGrpSpPr>
            <p:cNvPr id="2" name="组合 1">
              <a:extLst>
                <a:ext uri="{FF2B5EF4-FFF2-40B4-BE49-F238E27FC236}">
                  <a16:creationId xmlns:a16="http://schemas.microsoft.com/office/drawing/2014/main" id="{B273EE15-26D3-4816-9332-0DAFDDFB690A}"/>
                </a:ext>
              </a:extLst>
            </p:cNvPr>
            <p:cNvGrpSpPr/>
            <p:nvPr userDrawn="1"/>
          </p:nvGrpSpPr>
          <p:grpSpPr>
            <a:xfrm>
              <a:off x="1774525" y="1721213"/>
              <a:ext cx="8917136" cy="3881631"/>
              <a:chOff x="505325" y="1721213"/>
              <a:chExt cx="10068343" cy="3881631"/>
            </a:xfrm>
          </p:grpSpPr>
          <p:sp>
            <p:nvSpPr>
              <p:cNvPr id="6" name="任意多边形: 形状 5">
                <a:extLst>
                  <a:ext uri="{FF2B5EF4-FFF2-40B4-BE49-F238E27FC236}">
                    <a16:creationId xmlns:a16="http://schemas.microsoft.com/office/drawing/2014/main" id="{DE4D5FCD-C64C-4246-AF4F-6491CFBEB8F9}"/>
                  </a:ext>
                </a:extLst>
              </p:cNvPr>
              <p:cNvSpPr/>
              <p:nvPr userDrawn="1"/>
            </p:nvSpPr>
            <p:spPr>
              <a:xfrm rot="5400000" flipV="1">
                <a:off x="10116449" y="1716272"/>
                <a:ext cx="452277" cy="462160"/>
              </a:xfrm>
              <a:custGeom>
                <a:avLst/>
                <a:gdLst>
                  <a:gd name="connsiteX0" fmla="*/ 0 w 1043"/>
                  <a:gd name="connsiteY0" fmla="*/ 1137 h 1137"/>
                  <a:gd name="connsiteX1" fmla="*/ 0 w 1043"/>
                  <a:gd name="connsiteY1" fmla="*/ 0 h 1137"/>
                  <a:gd name="connsiteX2" fmla="*/ 1043 w 1043"/>
                  <a:gd name="connsiteY2" fmla="*/ 1068 h 1137"/>
                  <a:gd name="connsiteX3" fmla="*/ 0 w 1043"/>
                  <a:gd name="connsiteY3" fmla="*/ 1137 h 1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3" h="1137">
                    <a:moveTo>
                      <a:pt x="0" y="1137"/>
                    </a:moveTo>
                    <a:lnTo>
                      <a:pt x="0" y="0"/>
                    </a:lnTo>
                    <a:lnTo>
                      <a:pt x="1043" y="1068"/>
                    </a:lnTo>
                    <a:lnTo>
                      <a:pt x="0" y="1137"/>
                    </a:lnTo>
                    <a:close/>
                  </a:path>
                </a:pathLst>
              </a:custGeom>
              <a:solidFill>
                <a:schemeClr val="bg1"/>
              </a:solidFill>
              <a:ln w="381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/>
                <a:endParaRPr lang="zh-CN" altLang="en-US">
                  <a:sym typeface="+mn-ea"/>
                </a:endParaRPr>
              </a:p>
            </p:txBody>
          </p:sp>
          <p:sp>
            <p:nvSpPr>
              <p:cNvPr id="7" name="任意多边形: 形状 6">
                <a:extLst>
                  <a:ext uri="{FF2B5EF4-FFF2-40B4-BE49-F238E27FC236}">
                    <a16:creationId xmlns:a16="http://schemas.microsoft.com/office/drawing/2014/main" id="{D8B50FDE-A9FB-42DD-95AD-7533F8633AFF}"/>
                  </a:ext>
                </a:extLst>
              </p:cNvPr>
              <p:cNvSpPr/>
              <p:nvPr userDrawn="1"/>
            </p:nvSpPr>
            <p:spPr>
              <a:xfrm rot="16200000" flipV="1">
                <a:off x="525633" y="5230994"/>
                <a:ext cx="351542" cy="392158"/>
              </a:xfrm>
              <a:custGeom>
                <a:avLst/>
                <a:gdLst>
                  <a:gd name="connsiteX0" fmla="*/ 0 w 1043"/>
                  <a:gd name="connsiteY0" fmla="*/ 1137 h 1137"/>
                  <a:gd name="connsiteX1" fmla="*/ 0 w 1043"/>
                  <a:gd name="connsiteY1" fmla="*/ 0 h 1137"/>
                  <a:gd name="connsiteX2" fmla="*/ 1043 w 1043"/>
                  <a:gd name="connsiteY2" fmla="*/ 1068 h 1137"/>
                  <a:gd name="connsiteX3" fmla="*/ 0 w 1043"/>
                  <a:gd name="connsiteY3" fmla="*/ 1137 h 1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3" h="1137">
                    <a:moveTo>
                      <a:pt x="0" y="1137"/>
                    </a:moveTo>
                    <a:lnTo>
                      <a:pt x="0" y="0"/>
                    </a:lnTo>
                    <a:lnTo>
                      <a:pt x="1043" y="1068"/>
                    </a:lnTo>
                    <a:lnTo>
                      <a:pt x="0" y="1137"/>
                    </a:lnTo>
                    <a:close/>
                  </a:path>
                </a:pathLst>
              </a:custGeom>
              <a:solidFill>
                <a:schemeClr val="bg1"/>
              </a:solidFill>
              <a:ln w="381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/>
                <a:endParaRPr lang="zh-CN" altLang="en-US" dirty="0">
                  <a:sym typeface="+mn-ea"/>
                </a:endParaRPr>
              </a:p>
            </p:txBody>
          </p:sp>
        </p:grpSp>
      </p:grp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4555190" y="2569450"/>
            <a:ext cx="5534306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4555190" y="3464800"/>
            <a:ext cx="5534306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BAA5832B-6C7D-41F3-BF15-578C8F3BB588}"/>
              </a:ext>
            </a:extLst>
          </p:cNvPr>
          <p:cNvGrpSpPr/>
          <p:nvPr userDrawn="1"/>
        </p:nvGrpSpPr>
        <p:grpSpPr>
          <a:xfrm>
            <a:off x="0" y="0"/>
            <a:ext cx="12192000" cy="6880225"/>
            <a:chOff x="1518213" y="661316"/>
            <a:chExt cx="12192000" cy="6880225"/>
          </a:xfrm>
        </p:grpSpPr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BFA49242-3BB7-467F-9F5D-30022BBF877F}"/>
                </a:ext>
              </a:extLst>
            </p:cNvPr>
            <p:cNvSpPr/>
            <p:nvPr userDrawn="1"/>
          </p:nvSpPr>
          <p:spPr>
            <a:xfrm>
              <a:off x="1518213" y="661316"/>
              <a:ext cx="12192000" cy="6880225"/>
            </a:xfrm>
            <a:prstGeom prst="rect">
              <a:avLst/>
            </a:prstGeom>
            <a:gradFill flip="none" rotWithShape="1">
              <a:gsLst>
                <a:gs pos="0">
                  <a:srgbClr val="24248B">
                    <a:alpha val="100000"/>
                  </a:srgbClr>
                </a:gs>
                <a:gs pos="100000">
                  <a:srgbClr val="0B00A6">
                    <a:alpha val="90000"/>
                  </a:srgb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EE5C415F-C759-418A-9B06-89AF1D01F411}"/>
                </a:ext>
              </a:extLst>
            </p:cNvPr>
            <p:cNvSpPr/>
            <p:nvPr userDrawn="1"/>
          </p:nvSpPr>
          <p:spPr>
            <a:xfrm>
              <a:off x="1518213" y="661316"/>
              <a:ext cx="12192000" cy="6880225"/>
            </a:xfrm>
            <a:custGeom>
              <a:avLst/>
              <a:gdLst>
                <a:gd name="connsiteX0" fmla="*/ 6103145 w 12192000"/>
                <a:gd name="connsiteY0" fmla="*/ 3432493 h 6880225"/>
                <a:gd name="connsiteX1" fmla="*/ 0 w 12192000"/>
                <a:gd name="connsiteY1" fmla="*/ 4561448 h 6880225"/>
                <a:gd name="connsiteX2" fmla="*/ 0 w 12192000"/>
                <a:gd name="connsiteY2" fmla="*/ 4020931 h 6880225"/>
                <a:gd name="connsiteX3" fmla="*/ 6103145 w 12192000"/>
                <a:gd name="connsiteY3" fmla="*/ 3432493 h 6880225"/>
                <a:gd name="connsiteX4" fmla="*/ 0 w 12192000"/>
                <a:gd name="connsiteY4" fmla="*/ 6757447 h 6880225"/>
                <a:gd name="connsiteX5" fmla="*/ 0 w 12192000"/>
                <a:gd name="connsiteY5" fmla="*/ 6101209 h 6880225"/>
                <a:gd name="connsiteX6" fmla="*/ 6103145 w 12192000"/>
                <a:gd name="connsiteY6" fmla="*/ 3432493 h 6880225"/>
                <a:gd name="connsiteX7" fmla="*/ 2853198 w 12192000"/>
                <a:gd name="connsiteY7" fmla="*/ 6880225 h 6880225"/>
                <a:gd name="connsiteX8" fmla="*/ 2235128 w 12192000"/>
                <a:gd name="connsiteY8" fmla="*/ 6880225 h 6880225"/>
                <a:gd name="connsiteX9" fmla="*/ 6103145 w 12192000"/>
                <a:gd name="connsiteY9" fmla="*/ 3432493 h 6880225"/>
                <a:gd name="connsiteX10" fmla="*/ 4482320 w 12192000"/>
                <a:gd name="connsiteY10" fmla="*/ 6880225 h 6880225"/>
                <a:gd name="connsiteX11" fmla="*/ 4100306 w 12192000"/>
                <a:gd name="connsiteY11" fmla="*/ 6880225 h 6880225"/>
                <a:gd name="connsiteX12" fmla="*/ 6103145 w 12192000"/>
                <a:gd name="connsiteY12" fmla="*/ 3432493 h 6880225"/>
                <a:gd name="connsiteX13" fmla="*/ 5678028 w 12192000"/>
                <a:gd name="connsiteY13" fmla="*/ 6880225 h 6880225"/>
                <a:gd name="connsiteX14" fmla="*/ 5368958 w 12192000"/>
                <a:gd name="connsiteY14" fmla="*/ 6880225 h 6880225"/>
                <a:gd name="connsiteX15" fmla="*/ 6103145 w 12192000"/>
                <a:gd name="connsiteY15" fmla="*/ 3432493 h 6880225"/>
                <a:gd name="connsiteX16" fmla="*/ 6780177 w 12192000"/>
                <a:gd name="connsiteY16" fmla="*/ 6880225 h 6880225"/>
                <a:gd name="connsiteX17" fmla="*/ 6474029 w 12192000"/>
                <a:gd name="connsiteY17" fmla="*/ 6880225 h 6880225"/>
                <a:gd name="connsiteX18" fmla="*/ 6103145 w 12192000"/>
                <a:gd name="connsiteY18" fmla="*/ 3432493 h 6880225"/>
                <a:gd name="connsiteX19" fmla="*/ 8033477 w 12192000"/>
                <a:gd name="connsiteY19" fmla="*/ 6880225 h 6880225"/>
                <a:gd name="connsiteX20" fmla="*/ 7657317 w 12192000"/>
                <a:gd name="connsiteY20" fmla="*/ 6880225 h 6880225"/>
                <a:gd name="connsiteX21" fmla="*/ 6103145 w 12192000"/>
                <a:gd name="connsiteY21" fmla="*/ 3432493 h 6880225"/>
                <a:gd name="connsiteX22" fmla="*/ 9848054 w 12192000"/>
                <a:gd name="connsiteY22" fmla="*/ 6880225 h 6880225"/>
                <a:gd name="connsiteX23" fmla="*/ 9252221 w 12192000"/>
                <a:gd name="connsiteY23" fmla="*/ 6880225 h 6880225"/>
                <a:gd name="connsiteX24" fmla="*/ 6103145 w 12192000"/>
                <a:gd name="connsiteY24" fmla="*/ 3432493 h 6880225"/>
                <a:gd name="connsiteX25" fmla="*/ 12192000 w 12192000"/>
                <a:gd name="connsiteY25" fmla="*/ 6211392 h 6880225"/>
                <a:gd name="connsiteX26" fmla="*/ 12192000 w 12192000"/>
                <a:gd name="connsiteY26" fmla="*/ 6876631 h 6880225"/>
                <a:gd name="connsiteX27" fmla="*/ 6103145 w 12192000"/>
                <a:gd name="connsiteY27" fmla="*/ 3432493 h 6880225"/>
                <a:gd name="connsiteX28" fmla="*/ 12192000 w 12192000"/>
                <a:gd name="connsiteY28" fmla="*/ 4118345 h 6880225"/>
                <a:gd name="connsiteX29" fmla="*/ 12192000 w 12192000"/>
                <a:gd name="connsiteY29" fmla="*/ 4658400 h 6880225"/>
                <a:gd name="connsiteX30" fmla="*/ 12192000 w 12192000"/>
                <a:gd name="connsiteY30" fmla="*/ 2173903 h 6880225"/>
                <a:gd name="connsiteX31" fmla="*/ 12192000 w 12192000"/>
                <a:gd name="connsiteY31" fmla="*/ 2716891 h 6880225"/>
                <a:gd name="connsiteX32" fmla="*/ 6103145 w 12192000"/>
                <a:gd name="connsiteY32" fmla="*/ 3432493 h 6880225"/>
                <a:gd name="connsiteX33" fmla="*/ 0 w 12192000"/>
                <a:gd name="connsiteY33" fmla="*/ 2071218 h 6880225"/>
                <a:gd name="connsiteX34" fmla="*/ 6103145 w 12192000"/>
                <a:gd name="connsiteY34" fmla="*/ 3432493 h 6880225"/>
                <a:gd name="connsiteX35" fmla="*/ 0 w 12192000"/>
                <a:gd name="connsiteY35" fmla="*/ 2616963 h 6880225"/>
                <a:gd name="connsiteX36" fmla="*/ 0 w 12192000"/>
                <a:gd name="connsiteY36" fmla="*/ 148474 h 6880225"/>
                <a:gd name="connsiteX37" fmla="*/ 6103145 w 12192000"/>
                <a:gd name="connsiteY37" fmla="*/ 3432493 h 6880225"/>
                <a:gd name="connsiteX38" fmla="*/ 0 w 12192000"/>
                <a:gd name="connsiteY38" fmla="*/ 799973 h 6880225"/>
                <a:gd name="connsiteX39" fmla="*/ 12104097 w 12192000"/>
                <a:gd name="connsiteY39" fmla="*/ 0 h 6880225"/>
                <a:gd name="connsiteX40" fmla="*/ 12160929 w 12192000"/>
                <a:gd name="connsiteY40" fmla="*/ 0 h 6880225"/>
                <a:gd name="connsiteX41" fmla="*/ 12192000 w 12192000"/>
                <a:gd name="connsiteY41" fmla="*/ 46316 h 6880225"/>
                <a:gd name="connsiteX42" fmla="*/ 12192000 w 12192000"/>
                <a:gd name="connsiteY42" fmla="*/ 618291 h 6880225"/>
                <a:gd name="connsiteX43" fmla="*/ 6103145 w 12192000"/>
                <a:gd name="connsiteY43" fmla="*/ 3432493 h 6880225"/>
                <a:gd name="connsiteX44" fmla="*/ 9206322 w 12192000"/>
                <a:gd name="connsiteY44" fmla="*/ 0 h 6880225"/>
                <a:gd name="connsiteX45" fmla="*/ 9794157 w 12192000"/>
                <a:gd name="connsiteY45" fmla="*/ 0 h 6880225"/>
                <a:gd name="connsiteX46" fmla="*/ 6103145 w 12192000"/>
                <a:gd name="connsiteY46" fmla="*/ 3432493 h 6880225"/>
                <a:gd name="connsiteX47" fmla="*/ 7630317 w 12192000"/>
                <a:gd name="connsiteY47" fmla="*/ 0 h 6880225"/>
                <a:gd name="connsiteX48" fmla="*/ 8002009 w 12192000"/>
                <a:gd name="connsiteY48" fmla="*/ 0 h 6880225"/>
                <a:gd name="connsiteX49" fmla="*/ 6103145 w 12192000"/>
                <a:gd name="connsiteY49" fmla="*/ 3432493 h 6880225"/>
                <a:gd name="connsiteX50" fmla="*/ 6455216 w 12192000"/>
                <a:gd name="connsiteY50" fmla="*/ 0 h 6880225"/>
                <a:gd name="connsiteX51" fmla="*/ 6759624 w 12192000"/>
                <a:gd name="connsiteY51" fmla="*/ 0 h 6880225"/>
                <a:gd name="connsiteX52" fmla="*/ 6103145 w 12192000"/>
                <a:gd name="connsiteY52" fmla="*/ 3432493 h 6880225"/>
                <a:gd name="connsiteX53" fmla="*/ 5355068 w 12192000"/>
                <a:gd name="connsiteY53" fmla="*/ 0 h 6880225"/>
                <a:gd name="connsiteX54" fmla="*/ 5661858 w 12192000"/>
                <a:gd name="connsiteY54" fmla="*/ 0 h 6880225"/>
                <a:gd name="connsiteX55" fmla="*/ 6103145 w 12192000"/>
                <a:gd name="connsiteY55" fmla="*/ 3432493 h 6880225"/>
                <a:gd name="connsiteX56" fmla="*/ 4086169 w 12192000"/>
                <a:gd name="connsiteY56" fmla="*/ 0 h 6880225"/>
                <a:gd name="connsiteX57" fmla="*/ 4468543 w 12192000"/>
                <a:gd name="connsiteY57" fmla="*/ 0 h 6880225"/>
                <a:gd name="connsiteX58" fmla="*/ 6103145 w 12192000"/>
                <a:gd name="connsiteY58" fmla="*/ 3432493 h 6880225"/>
                <a:gd name="connsiteX59" fmla="*/ 2216456 w 12192000"/>
                <a:gd name="connsiteY59" fmla="*/ 0 h 6880225"/>
                <a:gd name="connsiteX60" fmla="*/ 2834512 w 12192000"/>
                <a:gd name="connsiteY60" fmla="*/ 0 h 6880225"/>
                <a:gd name="connsiteX61" fmla="*/ 6103145 w 12192000"/>
                <a:gd name="connsiteY61" fmla="*/ 3432493 h 688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12192000" h="6880225">
                  <a:moveTo>
                    <a:pt x="6103145" y="3432493"/>
                  </a:moveTo>
                  <a:lnTo>
                    <a:pt x="0" y="4561448"/>
                  </a:lnTo>
                  <a:lnTo>
                    <a:pt x="0" y="4020931"/>
                  </a:lnTo>
                  <a:close/>
                  <a:moveTo>
                    <a:pt x="6103145" y="3432493"/>
                  </a:moveTo>
                  <a:lnTo>
                    <a:pt x="0" y="6757447"/>
                  </a:lnTo>
                  <a:lnTo>
                    <a:pt x="0" y="6101209"/>
                  </a:lnTo>
                  <a:close/>
                  <a:moveTo>
                    <a:pt x="6103145" y="3432493"/>
                  </a:moveTo>
                  <a:lnTo>
                    <a:pt x="2853198" y="6880225"/>
                  </a:lnTo>
                  <a:lnTo>
                    <a:pt x="2235128" y="6880225"/>
                  </a:lnTo>
                  <a:close/>
                  <a:moveTo>
                    <a:pt x="6103145" y="3432493"/>
                  </a:moveTo>
                  <a:lnTo>
                    <a:pt x="4482320" y="6880225"/>
                  </a:lnTo>
                  <a:lnTo>
                    <a:pt x="4100306" y="6880225"/>
                  </a:lnTo>
                  <a:close/>
                  <a:moveTo>
                    <a:pt x="6103145" y="3432493"/>
                  </a:moveTo>
                  <a:lnTo>
                    <a:pt x="5678028" y="6880225"/>
                  </a:lnTo>
                  <a:lnTo>
                    <a:pt x="5368958" y="6880225"/>
                  </a:lnTo>
                  <a:close/>
                  <a:moveTo>
                    <a:pt x="6103145" y="3432493"/>
                  </a:moveTo>
                  <a:lnTo>
                    <a:pt x="6780177" y="6880225"/>
                  </a:lnTo>
                  <a:lnTo>
                    <a:pt x="6474029" y="6880225"/>
                  </a:lnTo>
                  <a:close/>
                  <a:moveTo>
                    <a:pt x="6103145" y="3432493"/>
                  </a:moveTo>
                  <a:lnTo>
                    <a:pt x="8033477" y="6880225"/>
                  </a:lnTo>
                  <a:lnTo>
                    <a:pt x="7657317" y="6880225"/>
                  </a:lnTo>
                  <a:close/>
                  <a:moveTo>
                    <a:pt x="6103145" y="3432493"/>
                  </a:moveTo>
                  <a:lnTo>
                    <a:pt x="9848054" y="6880225"/>
                  </a:lnTo>
                  <a:lnTo>
                    <a:pt x="9252221" y="6880225"/>
                  </a:lnTo>
                  <a:close/>
                  <a:moveTo>
                    <a:pt x="6103145" y="3432493"/>
                  </a:moveTo>
                  <a:lnTo>
                    <a:pt x="12192000" y="6211392"/>
                  </a:lnTo>
                  <a:lnTo>
                    <a:pt x="12192000" y="6876631"/>
                  </a:lnTo>
                  <a:close/>
                  <a:moveTo>
                    <a:pt x="6103145" y="3432493"/>
                  </a:moveTo>
                  <a:lnTo>
                    <a:pt x="12192000" y="4118345"/>
                  </a:lnTo>
                  <a:lnTo>
                    <a:pt x="12192000" y="4658400"/>
                  </a:lnTo>
                  <a:close/>
                  <a:moveTo>
                    <a:pt x="12192000" y="2173903"/>
                  </a:moveTo>
                  <a:lnTo>
                    <a:pt x="12192000" y="2716891"/>
                  </a:lnTo>
                  <a:lnTo>
                    <a:pt x="6103145" y="3432493"/>
                  </a:lnTo>
                  <a:close/>
                  <a:moveTo>
                    <a:pt x="0" y="2071218"/>
                  </a:moveTo>
                  <a:lnTo>
                    <a:pt x="6103145" y="3432493"/>
                  </a:lnTo>
                  <a:lnTo>
                    <a:pt x="0" y="2616963"/>
                  </a:lnTo>
                  <a:close/>
                  <a:moveTo>
                    <a:pt x="0" y="148474"/>
                  </a:moveTo>
                  <a:lnTo>
                    <a:pt x="6103145" y="3432493"/>
                  </a:lnTo>
                  <a:lnTo>
                    <a:pt x="0" y="799973"/>
                  </a:lnTo>
                  <a:close/>
                  <a:moveTo>
                    <a:pt x="12104097" y="0"/>
                  </a:moveTo>
                  <a:lnTo>
                    <a:pt x="12160929" y="0"/>
                  </a:lnTo>
                  <a:lnTo>
                    <a:pt x="12192000" y="46316"/>
                  </a:lnTo>
                  <a:lnTo>
                    <a:pt x="12192000" y="618291"/>
                  </a:lnTo>
                  <a:lnTo>
                    <a:pt x="6103145" y="3432493"/>
                  </a:lnTo>
                  <a:close/>
                  <a:moveTo>
                    <a:pt x="9206322" y="0"/>
                  </a:moveTo>
                  <a:lnTo>
                    <a:pt x="9794157" y="0"/>
                  </a:lnTo>
                  <a:lnTo>
                    <a:pt x="6103145" y="3432493"/>
                  </a:lnTo>
                  <a:close/>
                  <a:moveTo>
                    <a:pt x="7630317" y="0"/>
                  </a:moveTo>
                  <a:lnTo>
                    <a:pt x="8002009" y="0"/>
                  </a:lnTo>
                  <a:lnTo>
                    <a:pt x="6103145" y="3432493"/>
                  </a:lnTo>
                  <a:close/>
                  <a:moveTo>
                    <a:pt x="6455216" y="0"/>
                  </a:moveTo>
                  <a:lnTo>
                    <a:pt x="6759624" y="0"/>
                  </a:lnTo>
                  <a:lnTo>
                    <a:pt x="6103145" y="3432493"/>
                  </a:lnTo>
                  <a:close/>
                  <a:moveTo>
                    <a:pt x="5355068" y="0"/>
                  </a:moveTo>
                  <a:lnTo>
                    <a:pt x="5661858" y="0"/>
                  </a:lnTo>
                  <a:lnTo>
                    <a:pt x="6103145" y="3432493"/>
                  </a:lnTo>
                  <a:close/>
                  <a:moveTo>
                    <a:pt x="4086169" y="0"/>
                  </a:moveTo>
                  <a:lnTo>
                    <a:pt x="4468543" y="0"/>
                  </a:lnTo>
                  <a:lnTo>
                    <a:pt x="6103145" y="3432493"/>
                  </a:lnTo>
                  <a:close/>
                  <a:moveTo>
                    <a:pt x="2216456" y="0"/>
                  </a:moveTo>
                  <a:lnTo>
                    <a:pt x="2834512" y="0"/>
                  </a:lnTo>
                  <a:lnTo>
                    <a:pt x="6103145" y="3432493"/>
                  </a:lnTo>
                  <a:close/>
                </a:path>
              </a:pathLst>
            </a:custGeom>
            <a:solidFill>
              <a:schemeClr val="bg1">
                <a:alpha val="1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/>
            </a:p>
          </p:txBody>
        </p:sp>
      </p:grpSp>
      <p:sp>
        <p:nvSpPr>
          <p:cNvPr id="7" name="矩形: 剪去对角 6">
            <a:extLst>
              <a:ext uri="{FF2B5EF4-FFF2-40B4-BE49-F238E27FC236}">
                <a16:creationId xmlns:a16="http://schemas.microsoft.com/office/drawing/2014/main" id="{7A56EFAD-FF3A-4BD1-B872-189E2557C540}"/>
              </a:ext>
            </a:extLst>
          </p:cNvPr>
          <p:cNvSpPr/>
          <p:nvPr userDrawn="1"/>
        </p:nvSpPr>
        <p:spPr>
          <a:xfrm>
            <a:off x="1015365" y="1439545"/>
            <a:ext cx="10659745" cy="3943985"/>
          </a:xfrm>
          <a:prstGeom prst="snip2DiagRect">
            <a:avLst/>
          </a:prstGeom>
          <a:solidFill>
            <a:srgbClr val="DFEEF8">
              <a:alpha val="77000"/>
            </a:srgb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: 剪去对角 7">
            <a:extLst>
              <a:ext uri="{FF2B5EF4-FFF2-40B4-BE49-F238E27FC236}">
                <a16:creationId xmlns:a16="http://schemas.microsoft.com/office/drawing/2014/main" id="{46AA9AFD-5023-4A22-9B5B-A915CA687AA0}"/>
              </a:ext>
            </a:extLst>
          </p:cNvPr>
          <p:cNvSpPr/>
          <p:nvPr userDrawn="1"/>
        </p:nvSpPr>
        <p:spPr>
          <a:xfrm>
            <a:off x="765175" y="1189355"/>
            <a:ext cx="10659745" cy="3943985"/>
          </a:xfrm>
          <a:prstGeom prst="snip2DiagRect">
            <a:avLst/>
          </a:prstGeom>
          <a:pattFill prst="lgGrid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>
              <a:sym typeface="+mn-ea"/>
            </a:endParaRPr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41DDCAEA-F88A-48B9-8C39-299F92715DD7}"/>
              </a:ext>
            </a:extLst>
          </p:cNvPr>
          <p:cNvSpPr/>
          <p:nvPr userDrawn="1"/>
        </p:nvSpPr>
        <p:spPr>
          <a:xfrm rot="5400000" flipV="1">
            <a:off x="11163935" y="1166813"/>
            <a:ext cx="488315" cy="533400"/>
          </a:xfrm>
          <a:custGeom>
            <a:avLst/>
            <a:gdLst>
              <a:gd name="connsiteX0" fmla="*/ 0 w 1043"/>
              <a:gd name="connsiteY0" fmla="*/ 1137 h 1137"/>
              <a:gd name="connsiteX1" fmla="*/ 0 w 1043"/>
              <a:gd name="connsiteY1" fmla="*/ 0 h 1137"/>
              <a:gd name="connsiteX2" fmla="*/ 1043 w 1043"/>
              <a:gd name="connsiteY2" fmla="*/ 1068 h 1137"/>
              <a:gd name="connsiteX3" fmla="*/ 0 w 1043"/>
              <a:gd name="connsiteY3" fmla="*/ 1137 h 1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3" h="1137">
                <a:moveTo>
                  <a:pt x="0" y="1137"/>
                </a:moveTo>
                <a:lnTo>
                  <a:pt x="0" y="0"/>
                </a:lnTo>
                <a:lnTo>
                  <a:pt x="1043" y="1068"/>
                </a:lnTo>
                <a:lnTo>
                  <a:pt x="0" y="1137"/>
                </a:lnTo>
                <a:close/>
              </a:path>
            </a:pathLst>
          </a:custGeom>
          <a:pattFill prst="lgGrid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>
              <a:sym typeface="+mn-ea"/>
            </a:endParaRPr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C9E346EA-EF02-43F9-89CB-77BD9B1B3ADF}"/>
              </a:ext>
            </a:extLst>
          </p:cNvPr>
          <p:cNvSpPr/>
          <p:nvPr userDrawn="1"/>
        </p:nvSpPr>
        <p:spPr>
          <a:xfrm rot="16200000" flipV="1">
            <a:off x="504190" y="4872673"/>
            <a:ext cx="488315" cy="533400"/>
          </a:xfrm>
          <a:custGeom>
            <a:avLst/>
            <a:gdLst>
              <a:gd name="connsiteX0" fmla="*/ 0 w 1043"/>
              <a:gd name="connsiteY0" fmla="*/ 1137 h 1137"/>
              <a:gd name="connsiteX1" fmla="*/ 0 w 1043"/>
              <a:gd name="connsiteY1" fmla="*/ 0 h 1137"/>
              <a:gd name="connsiteX2" fmla="*/ 1043 w 1043"/>
              <a:gd name="connsiteY2" fmla="*/ 1068 h 1137"/>
              <a:gd name="connsiteX3" fmla="*/ 0 w 1043"/>
              <a:gd name="connsiteY3" fmla="*/ 1137 h 1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3" h="1137">
                <a:moveTo>
                  <a:pt x="0" y="1137"/>
                </a:moveTo>
                <a:lnTo>
                  <a:pt x="0" y="0"/>
                </a:lnTo>
                <a:lnTo>
                  <a:pt x="1043" y="1068"/>
                </a:lnTo>
                <a:lnTo>
                  <a:pt x="0" y="1137"/>
                </a:lnTo>
                <a:close/>
              </a:path>
            </a:pathLst>
          </a:custGeom>
          <a:solidFill>
            <a:srgbClr val="DFEEF8">
              <a:alpha val="77000"/>
            </a:srgb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>
              <a:sym typeface="+mn-ea"/>
            </a:endParaRPr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1425099" y="1828800"/>
            <a:ext cx="9341802" cy="176530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425099" y="4533499"/>
            <a:ext cx="9341802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25099" y="4237228"/>
            <a:ext cx="9341802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4776561" y="4201890"/>
            <a:ext cx="2638878" cy="428167"/>
          </a:xfrm>
          <a:prstGeom prst="roundRect">
            <a:avLst>
              <a:gd name="adj" fmla="val 26836"/>
            </a:avLst>
          </a:prstGeom>
          <a:gradFill>
            <a:gsLst>
              <a:gs pos="0">
                <a:srgbClr val="FFD85D"/>
              </a:gs>
              <a:gs pos="61000">
                <a:srgbClr val="FFBB00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lnSpcReduction="10000"/>
          </a:bodyPr>
          <a:lstStyle/>
          <a:p>
            <a:pPr defTabSz="914400"/>
            <a:r>
              <a:rPr lang="zh-CN" altLang="en-US" sz="2000" cap="all" dirty="0">
                <a:solidFill>
                  <a:schemeClr val="bg1"/>
                </a:solidFill>
                <a:cs typeface="+mn-ea"/>
                <a:sym typeface="+mn-lt"/>
              </a:rPr>
              <a:t>平台应用研发</a:t>
            </a:r>
            <a:endParaRPr lang="en-US" altLang="zh-CN" sz="2000" cap="all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1396093" y="1773936"/>
            <a:ext cx="9399815" cy="2232007"/>
          </a:xfrm>
        </p:spPr>
        <p:txBody>
          <a:bodyPr>
            <a:normAutofit/>
          </a:bodyPr>
          <a:lstStyle/>
          <a:p>
            <a:r>
              <a:rPr lang="zh-CN" altLang="en-US" sz="880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  <a:t>述职答辩</a:t>
            </a:r>
            <a:r>
              <a:rPr lang="en-US" altLang="zh-CN" sz="880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  <a:t> </a:t>
            </a:r>
            <a:br>
              <a:rPr lang="en-US" altLang="zh-CN" sz="880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</a:br>
            <a:r>
              <a:rPr lang="zh-CN" altLang="en-US" sz="1800" b="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  <a:t>答辩人：陈仲贤  </a:t>
            </a:r>
            <a:br>
              <a:rPr lang="en-US" altLang="zh-CN" sz="1800" b="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</a:br>
            <a:r>
              <a:rPr lang="zh-CN" altLang="en-US" sz="1800" b="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  <a:t>入职时间：</a:t>
            </a:r>
            <a:r>
              <a:rPr lang="en-US" altLang="zh-CN" sz="1800" b="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  <a:t>2022.07.19</a:t>
            </a: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0F50799-BFDE-477F-9236-29C494E001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提升点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FB1A492-EACB-4240-9988-8F96C9461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0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203B982-4856-4F52-B538-11167F2082CF}"/>
              </a:ext>
            </a:extLst>
          </p:cNvPr>
          <p:cNvGrpSpPr>
            <a:grpSpLocks noChangeAspect="1"/>
          </p:cNvGrpSpPr>
          <p:nvPr/>
        </p:nvGrpSpPr>
        <p:grpSpPr>
          <a:xfrm>
            <a:off x="672083" y="1399294"/>
            <a:ext cx="10847833" cy="4837994"/>
            <a:chOff x="672083" y="1399294"/>
            <a:chExt cx="10847833" cy="4837994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6F8C9F2B-4EBF-4D6A-A62B-D6B31C9E6C8F}"/>
                </a:ext>
              </a:extLst>
            </p:cNvPr>
            <p:cNvGrpSpPr/>
            <p:nvPr/>
          </p:nvGrpSpPr>
          <p:grpSpPr>
            <a:xfrm>
              <a:off x="5226152" y="1399294"/>
              <a:ext cx="3392747" cy="3152848"/>
              <a:chOff x="5226152" y="1399294"/>
              <a:chExt cx="3392747" cy="3152848"/>
            </a:xfrm>
          </p:grpSpPr>
          <p:sp>
            <p:nvSpPr>
              <p:cNvPr id="21" name="任意多边形: 形状 20">
                <a:extLst>
                  <a:ext uri="{FF2B5EF4-FFF2-40B4-BE49-F238E27FC236}">
                    <a16:creationId xmlns:a16="http://schemas.microsoft.com/office/drawing/2014/main" id="{AD807E39-BFD8-4F96-ADE5-4F568C171C1A}"/>
                  </a:ext>
                </a:extLst>
              </p:cNvPr>
              <p:cNvSpPr/>
              <p:nvPr/>
            </p:nvSpPr>
            <p:spPr>
              <a:xfrm rot="21412315" flipH="1">
                <a:off x="6949878" y="1399294"/>
                <a:ext cx="1669021" cy="31094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9642" y="0"/>
                    </a:moveTo>
                    <a:lnTo>
                      <a:pt x="0" y="21117"/>
                    </a:lnTo>
                    <a:lnTo>
                      <a:pt x="1654" y="21600"/>
                    </a:lnTo>
                    <a:lnTo>
                      <a:pt x="21600" y="156"/>
                    </a:lnTo>
                    <a:lnTo>
                      <a:pt x="19642" y="0"/>
                    </a:lnTo>
                    <a:close/>
                  </a:path>
                </a:pathLst>
              </a:custGeom>
              <a:solidFill>
                <a:schemeClr val="bg1"/>
              </a:solidFill>
              <a:ln w="6350" cap="flat">
                <a:solidFill>
                  <a:srgbClr val="CFCFCF"/>
                </a:solidFill>
                <a:prstDash val="solid"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2" name="任意多边形: 形状 21">
                <a:extLst>
                  <a:ext uri="{FF2B5EF4-FFF2-40B4-BE49-F238E27FC236}">
                    <a16:creationId xmlns:a16="http://schemas.microsoft.com/office/drawing/2014/main" id="{AD042E71-FACA-4147-B9FB-8C3CAFCE8A96}"/>
                  </a:ext>
                </a:extLst>
              </p:cNvPr>
              <p:cNvSpPr/>
              <p:nvPr/>
            </p:nvSpPr>
            <p:spPr>
              <a:xfrm rot="21412315" flipH="1">
                <a:off x="5420891" y="1465157"/>
                <a:ext cx="3071741" cy="308698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38" y="0"/>
                    </a:moveTo>
                    <a:lnTo>
                      <a:pt x="0" y="21600"/>
                    </a:lnTo>
                    <a:lnTo>
                      <a:pt x="21600" y="18579"/>
                    </a:lnTo>
                    <a:cubicBezTo>
                      <a:pt x="21600" y="18579"/>
                      <a:pt x="10838" y="0"/>
                      <a:pt x="10838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3" name="任意多边形: 形状 22">
                <a:extLst>
                  <a:ext uri="{FF2B5EF4-FFF2-40B4-BE49-F238E27FC236}">
                    <a16:creationId xmlns:a16="http://schemas.microsoft.com/office/drawing/2014/main" id="{586088FD-47CD-4521-9BB9-05BD44271C05}"/>
                  </a:ext>
                </a:extLst>
              </p:cNvPr>
              <p:cNvSpPr/>
              <p:nvPr/>
            </p:nvSpPr>
            <p:spPr>
              <a:xfrm rot="21412315" flipH="1">
                <a:off x="6343384" y="2377356"/>
                <a:ext cx="1155652" cy="212863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9211" y="0"/>
                    </a:moveTo>
                    <a:lnTo>
                      <a:pt x="0" y="20894"/>
                    </a:lnTo>
                    <a:lnTo>
                      <a:pt x="2389" y="21600"/>
                    </a:lnTo>
                    <a:lnTo>
                      <a:pt x="21600" y="706"/>
                    </a:lnTo>
                    <a:cubicBezTo>
                      <a:pt x="21600" y="706"/>
                      <a:pt x="19211" y="0"/>
                      <a:pt x="1921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 cap="flat">
                <a:solidFill>
                  <a:srgbClr val="CFCFCF"/>
                </a:solidFill>
                <a:prstDash val="solid"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4" name="任意多边形: 形状 23">
                <a:extLst>
                  <a:ext uri="{FF2B5EF4-FFF2-40B4-BE49-F238E27FC236}">
                    <a16:creationId xmlns:a16="http://schemas.microsoft.com/office/drawing/2014/main" id="{040438C7-77D6-44FF-BA57-0B2A1E31A3D3}"/>
                  </a:ext>
                </a:extLst>
              </p:cNvPr>
              <p:cNvSpPr/>
              <p:nvPr/>
            </p:nvSpPr>
            <p:spPr>
              <a:xfrm rot="21412315" flipH="1">
                <a:off x="5324800" y="2477731"/>
                <a:ext cx="2048794" cy="20591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36" y="0"/>
                    </a:moveTo>
                    <a:lnTo>
                      <a:pt x="0" y="21600"/>
                    </a:lnTo>
                    <a:lnTo>
                      <a:pt x="21600" y="18579"/>
                    </a:lnTo>
                    <a:cubicBezTo>
                      <a:pt x="21600" y="18579"/>
                      <a:pt x="10836" y="0"/>
                      <a:pt x="10836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5" name="任意多边形: 形状 24">
                <a:extLst>
                  <a:ext uri="{FF2B5EF4-FFF2-40B4-BE49-F238E27FC236}">
                    <a16:creationId xmlns:a16="http://schemas.microsoft.com/office/drawing/2014/main" id="{5F10F2F4-EB9A-4851-B05C-2A0C555954D2}"/>
                  </a:ext>
                </a:extLst>
              </p:cNvPr>
              <p:cNvSpPr/>
              <p:nvPr/>
            </p:nvSpPr>
            <p:spPr>
              <a:xfrm rot="21412315" flipH="1">
                <a:off x="5735270" y="3380285"/>
                <a:ext cx="646997" cy="110965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332" y="0"/>
                    </a:moveTo>
                    <a:lnTo>
                      <a:pt x="0" y="20246"/>
                    </a:lnTo>
                    <a:lnTo>
                      <a:pt x="4266" y="21600"/>
                    </a:lnTo>
                    <a:lnTo>
                      <a:pt x="21600" y="1354"/>
                    </a:lnTo>
                    <a:cubicBezTo>
                      <a:pt x="21600" y="1354"/>
                      <a:pt x="17332" y="0"/>
                      <a:pt x="1733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 cap="flat">
                <a:solidFill>
                  <a:srgbClr val="CFCFCF"/>
                </a:solidFill>
                <a:prstDash val="solid"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6" name="任意多边形: 形状 25">
                <a:extLst>
                  <a:ext uri="{FF2B5EF4-FFF2-40B4-BE49-F238E27FC236}">
                    <a16:creationId xmlns:a16="http://schemas.microsoft.com/office/drawing/2014/main" id="{6289EDD3-85F9-414C-92A4-1DFC03732032}"/>
                  </a:ext>
                </a:extLst>
              </p:cNvPr>
              <p:cNvSpPr/>
              <p:nvPr/>
            </p:nvSpPr>
            <p:spPr>
              <a:xfrm rot="21412315" flipH="1">
                <a:off x="5226152" y="3463117"/>
                <a:ext cx="1034837" cy="10401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38" y="0"/>
                    </a:moveTo>
                    <a:lnTo>
                      <a:pt x="0" y="21600"/>
                    </a:lnTo>
                    <a:lnTo>
                      <a:pt x="21600" y="18579"/>
                    </a:lnTo>
                    <a:cubicBezTo>
                      <a:pt x="21600" y="18579"/>
                      <a:pt x="10838" y="0"/>
                      <a:pt x="10838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sp>
          <p:nvSpPr>
            <p:cNvPr id="7" name="椭圆 6">
              <a:extLst>
                <a:ext uri="{FF2B5EF4-FFF2-40B4-BE49-F238E27FC236}">
                  <a16:creationId xmlns:a16="http://schemas.microsoft.com/office/drawing/2014/main" id="{E22CA93C-43B0-4482-BF11-91D542CEB85F}"/>
                </a:ext>
              </a:extLst>
            </p:cNvPr>
            <p:cNvSpPr/>
            <p:nvPr/>
          </p:nvSpPr>
          <p:spPr>
            <a:xfrm>
              <a:off x="7505818" y="2380597"/>
              <a:ext cx="922958" cy="922956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/>
              <a:r>
                <a:rPr lang="en-US" altLang="zh-CN">
                  <a:solidFill>
                    <a:schemeClr val="tx1"/>
                  </a:solidFill>
                  <a:cs typeface="+mn-ea"/>
                  <a:sym typeface="+mn-lt"/>
                </a:rPr>
                <a:t>1</a:t>
              </a:r>
              <a:endParaRPr lang="en-US" altLang="zh-CN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8" name="椭圆 7">
              <a:extLst>
                <a:ext uri="{FF2B5EF4-FFF2-40B4-BE49-F238E27FC236}">
                  <a16:creationId xmlns:a16="http://schemas.microsoft.com/office/drawing/2014/main" id="{2E32E13E-D710-4642-B955-57480CABB9BC}"/>
                </a:ext>
              </a:extLst>
            </p:cNvPr>
            <p:cNvSpPr/>
            <p:nvPr/>
          </p:nvSpPr>
          <p:spPr>
            <a:xfrm>
              <a:off x="5087888" y="4150088"/>
              <a:ext cx="593984" cy="59398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 defTabSz="914377"/>
              <a:r>
                <a:rPr lang="en-US" altLang="zh-CN" sz="1800">
                  <a:solidFill>
                    <a:schemeClr val="tx1"/>
                  </a:solidFill>
                  <a:cs typeface="+mn-ea"/>
                  <a:sym typeface="+mn-lt"/>
                </a:rPr>
                <a:t>3</a:t>
              </a:r>
              <a:endParaRPr lang="en-US" altLang="zh-CN" sz="18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9" name="椭圆 8">
              <a:extLst>
                <a:ext uri="{FF2B5EF4-FFF2-40B4-BE49-F238E27FC236}">
                  <a16:creationId xmlns:a16="http://schemas.microsoft.com/office/drawing/2014/main" id="{06A272F3-C880-4595-B9BA-0383397CB615}"/>
                </a:ext>
              </a:extLst>
            </p:cNvPr>
            <p:cNvSpPr/>
            <p:nvPr/>
          </p:nvSpPr>
          <p:spPr>
            <a:xfrm>
              <a:off x="7282282" y="4152505"/>
              <a:ext cx="593984" cy="59398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 defTabSz="914377"/>
              <a:r>
                <a:rPr lang="en-US" altLang="zh-CN" sz="1800">
                  <a:solidFill>
                    <a:schemeClr val="tx1"/>
                  </a:solidFill>
                  <a:cs typeface="+mn-ea"/>
                  <a:sym typeface="+mn-lt"/>
                </a:rPr>
                <a:t>2</a:t>
              </a:r>
            </a:p>
          </p:txBody>
        </p:sp>
        <p:sp>
          <p:nvSpPr>
            <p:cNvPr id="10" name="矩形: 剪去左右顶角 9">
              <a:extLst>
                <a:ext uri="{FF2B5EF4-FFF2-40B4-BE49-F238E27FC236}">
                  <a16:creationId xmlns:a16="http://schemas.microsoft.com/office/drawing/2014/main" id="{998FB89B-94D0-41E1-B5C1-AA418FDB780A}"/>
                </a:ext>
              </a:extLst>
            </p:cNvPr>
            <p:cNvSpPr/>
            <p:nvPr/>
          </p:nvSpPr>
          <p:spPr>
            <a:xfrm>
              <a:off x="4367810" y="5423565"/>
              <a:ext cx="2448270" cy="678785"/>
            </a:xfrm>
            <a:prstGeom prst="snip2SameRect">
              <a:avLst>
                <a:gd name="adj1" fmla="val 0"/>
                <a:gd name="adj2" fmla="val 0"/>
              </a:avLst>
            </a:prstGeom>
            <a:ln>
              <a:noFill/>
            </a:ln>
          </p:spPr>
          <p:txBody>
            <a:bodyPr wrap="square" lIns="91440" tIns="45720" rIns="91440" bIns="45720" anchor="t">
              <a:noAutofit/>
            </a:bodyPr>
            <a:lstStyle/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zh-CN" altLang="en-US" dirty="0">
                  <a:cs typeface="+mn-ea"/>
                  <a:sym typeface="+mn-lt"/>
                </a:rPr>
                <a:t>业务描述</a:t>
              </a:r>
              <a:endParaRPr lang="en-US" altLang="zh-CN" dirty="0">
                <a:cs typeface="+mn-ea"/>
                <a:sym typeface="+mn-lt"/>
              </a:endParaRP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zh-CN" altLang="en-US" dirty="0">
                  <a:cs typeface="+mn-ea"/>
                  <a:sym typeface="+mn-lt"/>
                </a:rPr>
                <a:t>问题表达</a:t>
              </a:r>
              <a:endParaRPr lang="en-US" altLang="zh-CN" dirty="0">
                <a:cs typeface="+mn-ea"/>
                <a:sym typeface="+mn-lt"/>
              </a:endParaRPr>
            </a:p>
            <a:p>
              <a:pPr>
                <a:lnSpc>
                  <a:spcPct val="120000"/>
                </a:lnSpc>
              </a:pPr>
              <a:endParaRPr lang="en-US" altLang="zh-CN" sz="2400" dirty="0">
                <a:cs typeface="+mn-ea"/>
                <a:sym typeface="+mn-lt"/>
              </a:endParaRPr>
            </a:p>
          </p:txBody>
        </p:sp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8178FB4B-C75D-4D59-A03E-1BE99E998060}"/>
                </a:ext>
              </a:extLst>
            </p:cNvPr>
            <p:cNvSpPr txBox="1"/>
            <p:nvPr/>
          </p:nvSpPr>
          <p:spPr bwMode="auto">
            <a:xfrm>
              <a:off x="4347863" y="4891337"/>
              <a:ext cx="2448270" cy="5162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zh-CN" altLang="en-US" sz="2400" b="1" dirty="0">
                  <a:cs typeface="+mn-ea"/>
                  <a:sym typeface="+mn-lt"/>
                </a:rPr>
                <a:t>语言表达能力</a:t>
              </a:r>
              <a:endParaRPr lang="en-US" altLang="zh-CN" sz="2400" b="1" dirty="0">
                <a:cs typeface="+mn-ea"/>
                <a:sym typeface="+mn-lt"/>
              </a:endParaRPr>
            </a:p>
          </p:txBody>
        </p:sp>
        <p:sp>
          <p:nvSpPr>
            <p:cNvPr id="12" name="矩形: 剪去左右顶角 11">
              <a:extLst>
                <a:ext uri="{FF2B5EF4-FFF2-40B4-BE49-F238E27FC236}">
                  <a16:creationId xmlns:a16="http://schemas.microsoft.com/office/drawing/2014/main" id="{A8542C11-9F1A-492A-8631-AFFA3189D55C}"/>
                </a:ext>
              </a:extLst>
            </p:cNvPr>
            <p:cNvSpPr/>
            <p:nvPr/>
          </p:nvSpPr>
          <p:spPr>
            <a:xfrm>
              <a:off x="7282283" y="5423565"/>
              <a:ext cx="2448270" cy="678785"/>
            </a:xfrm>
            <a:prstGeom prst="snip2SameRect">
              <a:avLst>
                <a:gd name="adj1" fmla="val 0"/>
                <a:gd name="adj2" fmla="val 0"/>
              </a:avLst>
            </a:prstGeom>
            <a:ln>
              <a:noFill/>
            </a:ln>
          </p:spPr>
          <p:txBody>
            <a:bodyPr wrap="square" lIns="91440" tIns="45720" rIns="91440" bIns="45720" anchor="t">
              <a:noAutofit/>
            </a:bodyPr>
            <a:lstStyle/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zh-CN" altLang="en-US" dirty="0">
                  <a:cs typeface="+mn-ea"/>
                  <a:sym typeface="+mn-lt"/>
                </a:rPr>
                <a:t>对业务了解更深刻</a:t>
              </a:r>
              <a:endParaRPr lang="en-US" altLang="zh-CN" dirty="0">
                <a:cs typeface="+mn-ea"/>
                <a:sym typeface="+mn-lt"/>
              </a:endParaRP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zh-CN" altLang="en-US" dirty="0">
                  <a:cs typeface="+mn-ea"/>
                  <a:sym typeface="+mn-lt"/>
                </a:rPr>
                <a:t>对业务中可能存在问题考虑的更多</a:t>
              </a:r>
              <a:endParaRPr lang="en-US" altLang="zh-CN" dirty="0">
                <a:cs typeface="+mn-ea"/>
                <a:sym typeface="+mn-lt"/>
              </a:endParaRPr>
            </a:p>
          </p:txBody>
        </p: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754D7AC4-6A85-4631-9A30-F1115126AFC1}"/>
                </a:ext>
              </a:extLst>
            </p:cNvPr>
            <p:cNvSpPr txBox="1"/>
            <p:nvPr/>
          </p:nvSpPr>
          <p:spPr bwMode="auto">
            <a:xfrm>
              <a:off x="7282282" y="4891337"/>
              <a:ext cx="2448270" cy="5162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zh-CN" altLang="en-US" sz="2400" b="1" dirty="0">
                  <a:cs typeface="+mn-ea"/>
                  <a:sym typeface="+mn-lt"/>
                </a:rPr>
                <a:t>业务问题考虑</a:t>
              </a:r>
              <a:endParaRPr lang="en-US" altLang="zh-CN" sz="2400" b="1" dirty="0">
                <a:cs typeface="+mn-ea"/>
                <a:sym typeface="+mn-lt"/>
              </a:endParaRPr>
            </a:p>
          </p:txBody>
        </p:sp>
        <p:sp>
          <p:nvSpPr>
            <p:cNvPr id="14" name="矩形: 剪去左右顶角 13">
              <a:extLst>
                <a:ext uri="{FF2B5EF4-FFF2-40B4-BE49-F238E27FC236}">
                  <a16:creationId xmlns:a16="http://schemas.microsoft.com/office/drawing/2014/main" id="{740CBEBA-0B64-4A71-A759-860D88262133}"/>
                </a:ext>
              </a:extLst>
            </p:cNvPr>
            <p:cNvSpPr/>
            <p:nvPr/>
          </p:nvSpPr>
          <p:spPr>
            <a:xfrm>
              <a:off x="8780063" y="2786673"/>
              <a:ext cx="2739853" cy="772316"/>
            </a:xfrm>
            <a:prstGeom prst="snip2SameRect">
              <a:avLst>
                <a:gd name="adj1" fmla="val 0"/>
                <a:gd name="adj2" fmla="val 0"/>
              </a:avLst>
            </a:prstGeom>
            <a:ln>
              <a:noFill/>
            </a:ln>
          </p:spPr>
          <p:txBody>
            <a:bodyPr wrap="square" lIns="91440" tIns="45720" rIns="91440" bIns="45720" anchor="t">
              <a:noAutofit/>
            </a:bodyPr>
            <a:lstStyle/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zh-CN" altLang="en-US" dirty="0">
                  <a:cs typeface="+mn-ea"/>
                  <a:sym typeface="+mn-lt"/>
                </a:rPr>
                <a:t>利用缓存 缓解压力</a:t>
              </a:r>
              <a:endParaRPr lang="en-US" altLang="zh-CN" dirty="0">
                <a:cs typeface="+mn-ea"/>
                <a:sym typeface="+mn-lt"/>
              </a:endParaRP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dirty="0" err="1">
                  <a:cs typeface="+mn-ea"/>
                  <a:sym typeface="+mn-lt"/>
                </a:rPr>
                <a:t>Hbase</a:t>
              </a:r>
              <a:r>
                <a:rPr lang="en-US" altLang="zh-CN" dirty="0">
                  <a:cs typeface="+mn-ea"/>
                  <a:sym typeface="+mn-lt"/>
                </a:rPr>
                <a:t> </a:t>
              </a:r>
            </a:p>
          </p:txBody>
        </p:sp>
        <p:sp>
          <p:nvSpPr>
            <p:cNvPr id="15" name="文本框 14">
              <a:extLst>
                <a:ext uri="{FF2B5EF4-FFF2-40B4-BE49-F238E27FC236}">
                  <a16:creationId xmlns:a16="http://schemas.microsoft.com/office/drawing/2014/main" id="{9A4C4378-4A70-460F-AE06-ED27695C5AE7}"/>
                </a:ext>
              </a:extLst>
            </p:cNvPr>
            <p:cNvSpPr txBox="1"/>
            <p:nvPr/>
          </p:nvSpPr>
          <p:spPr bwMode="auto">
            <a:xfrm>
              <a:off x="8780063" y="2301448"/>
              <a:ext cx="2739853" cy="5162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zh-CN" altLang="en-US" sz="2400" b="1" dirty="0">
                  <a:cs typeface="+mn-ea"/>
                  <a:sym typeface="+mn-lt"/>
                </a:rPr>
                <a:t>大数据量存储方案</a:t>
              </a:r>
              <a:endParaRPr lang="en-US" altLang="zh-CN" sz="2400" b="1" dirty="0">
                <a:cs typeface="+mn-ea"/>
                <a:sym typeface="+mn-lt"/>
              </a:endParaRPr>
            </a:p>
          </p:txBody>
        </p:sp>
        <p:cxnSp>
          <p:nvCxnSpPr>
            <p:cNvPr id="16" name="直接连接符 15">
              <a:extLst>
                <a:ext uri="{FF2B5EF4-FFF2-40B4-BE49-F238E27FC236}">
                  <a16:creationId xmlns:a16="http://schemas.microsoft.com/office/drawing/2014/main" id="{E29AEA8C-67DE-43BC-9FDF-CD91CC281074}"/>
                </a:ext>
              </a:extLst>
            </p:cNvPr>
            <p:cNvCxnSpPr>
              <a:cxnSpLocks/>
            </p:cNvCxnSpPr>
            <p:nvPr/>
          </p:nvCxnSpPr>
          <p:spPr>
            <a:xfrm>
              <a:off x="6582147" y="5013176"/>
              <a:ext cx="0" cy="108917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4FF319A3-38DA-4528-A470-E914D98045E0}"/>
                </a:ext>
              </a:extLst>
            </p:cNvPr>
            <p:cNvSpPr txBox="1"/>
            <p:nvPr/>
          </p:nvSpPr>
          <p:spPr>
            <a:xfrm>
              <a:off x="776857" y="2493631"/>
              <a:ext cx="397094" cy="374930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prstTxWarp prst="textPlain">
                <a:avLst/>
              </a:prstTxWarp>
              <a:noAutofit/>
            </a:bodyPr>
            <a:lstStyle/>
            <a:p>
              <a:r>
                <a:rPr lang="en-US" sz="4800" dirty="0">
                  <a:cs typeface="+mn-ea"/>
                  <a:sym typeface="+mn-lt"/>
                </a:rPr>
                <a:t>“</a:t>
              </a: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90562A9E-115B-4C67-8B3D-CDD7543EBEE9}"/>
                </a:ext>
              </a:extLst>
            </p:cNvPr>
            <p:cNvSpPr/>
            <p:nvPr/>
          </p:nvSpPr>
          <p:spPr>
            <a:xfrm>
              <a:off x="672084" y="2935236"/>
              <a:ext cx="3227854" cy="407934"/>
            </a:xfrm>
            <a:prstGeom prst="rect">
              <a:avLst/>
            </a:prstGeom>
          </p:spPr>
          <p:txBody>
            <a:bodyPr wrap="square" lIns="91440" tIns="45720" rIns="91440" bIns="45720" anchor="ctr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b="1" dirty="0">
                  <a:cs typeface="+mn-ea"/>
                  <a:sym typeface="+mn-lt"/>
                </a:rPr>
                <a:t>在这三个月中主要提升点</a:t>
              </a:r>
              <a:endParaRPr lang="zh-CN" altLang="en-US" sz="1800" b="1" dirty="0">
                <a:cs typeface="+mn-ea"/>
                <a:sym typeface="+mn-lt"/>
              </a:endParaRPr>
            </a:p>
          </p:txBody>
        </p:sp>
        <p:sp>
          <p:nvSpPr>
            <p:cNvPr id="19" name="矩形 18">
              <a:extLst>
                <a:ext uri="{FF2B5EF4-FFF2-40B4-BE49-F238E27FC236}">
                  <a16:creationId xmlns:a16="http://schemas.microsoft.com/office/drawing/2014/main" id="{C4168F20-2B2B-4B0A-98FA-24BB474C67E2}"/>
                </a:ext>
              </a:extLst>
            </p:cNvPr>
            <p:cNvSpPr/>
            <p:nvPr/>
          </p:nvSpPr>
          <p:spPr>
            <a:xfrm>
              <a:off x="672083" y="3343170"/>
              <a:ext cx="3227855" cy="1114060"/>
            </a:xfrm>
            <a:prstGeom prst="rect">
              <a:avLst/>
            </a:prstGeom>
          </p:spPr>
          <p:txBody>
            <a:bodyPr wrap="square" lIns="91440" tIns="45720" rIns="91440" bIns="45720" anchor="t">
              <a:noAutofit/>
            </a:bodyPr>
            <a:lstStyle/>
            <a:p>
              <a:pPr>
                <a:lnSpc>
                  <a:spcPct val="120000"/>
                </a:lnSpc>
              </a:pPr>
              <a:endParaRPr lang="en-US" altLang="zh-CN" sz="1000" dirty="0">
                <a:cs typeface="+mn-ea"/>
                <a:sym typeface="+mn-lt"/>
              </a:endParaRPr>
            </a:p>
          </p:txBody>
        </p:sp>
        <p:cxnSp>
          <p:nvCxnSpPr>
            <p:cNvPr id="20" name="直接连接符 19">
              <a:extLst>
                <a:ext uri="{FF2B5EF4-FFF2-40B4-BE49-F238E27FC236}">
                  <a16:creationId xmlns:a16="http://schemas.microsoft.com/office/drawing/2014/main" id="{6FE0273A-4806-404E-878E-E79C906C5FDB}"/>
                </a:ext>
              </a:extLst>
            </p:cNvPr>
            <p:cNvCxnSpPr>
              <a:cxnSpLocks/>
            </p:cNvCxnSpPr>
            <p:nvPr/>
          </p:nvCxnSpPr>
          <p:spPr>
            <a:xfrm>
              <a:off x="3647728" y="1451468"/>
              <a:ext cx="0" cy="478582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377536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A3DC0AE-C1D4-C7ED-1F6D-8E4136099E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实时方案说明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E5A0C73-0F87-BDB1-2C48-C5E7264C84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8A86CFEB-7A0F-3881-EC00-D72D34AD30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3756" y="1890254"/>
            <a:ext cx="10175051" cy="2924813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A939A1C2-2D4A-BFBB-F0D8-05FEE776B6F7}"/>
              </a:ext>
            </a:extLst>
          </p:cNvPr>
          <p:cNvSpPr txBox="1"/>
          <p:nvPr/>
        </p:nvSpPr>
        <p:spPr>
          <a:xfrm>
            <a:off x="669924" y="5491955"/>
            <a:ext cx="46182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使用</a:t>
            </a:r>
            <a:r>
              <a:rPr lang="en-US" altLang="zh-CN" dirty="0"/>
              <a:t>Redis </a:t>
            </a:r>
            <a:r>
              <a:rPr lang="zh-CN" altLang="en-US" dirty="0"/>
              <a:t>为了缓解数据库压力</a:t>
            </a:r>
          </a:p>
        </p:txBody>
      </p:sp>
    </p:spTree>
    <p:extLst>
      <p:ext uri="{BB962C8B-B14F-4D97-AF65-F5344CB8AC3E}">
        <p14:creationId xmlns:p14="http://schemas.microsoft.com/office/powerpoint/2010/main" val="28430001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A3DC0AE-C1D4-C7ED-1F6D-8E4136099E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历史方案说明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E5A0C73-0F87-BDB1-2C48-C5E7264C84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B50E542F-62B7-6B6B-2987-994FD4A351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2976" y="1154376"/>
            <a:ext cx="11626048" cy="4899183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A5FD5E7A-B4D6-3B6B-AB00-2355AC2BA298}"/>
              </a:ext>
            </a:extLst>
          </p:cNvPr>
          <p:cNvSpPr txBox="1"/>
          <p:nvPr/>
        </p:nvSpPr>
        <p:spPr>
          <a:xfrm>
            <a:off x="416689" y="6240463"/>
            <a:ext cx="2650602" cy="3686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使用</a:t>
            </a:r>
            <a:r>
              <a:rPr lang="en-US" altLang="zh-CN" dirty="0" err="1"/>
              <a:t>Mysq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502306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218115" y="2528209"/>
            <a:ext cx="4791016" cy="895350"/>
          </a:xfrm>
        </p:spPr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不足之处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218115" y="3423559"/>
            <a:ext cx="4791016" cy="1015623"/>
          </a:xfrm>
        </p:spPr>
        <p:txBody>
          <a:bodyPr/>
          <a:lstStyle/>
          <a:p>
            <a:pPr lvl="0"/>
            <a:r>
              <a:rPr lang="zh-CN" altLang="en-US" dirty="0">
                <a:cs typeface="+mn-ea"/>
                <a:sym typeface="+mn-lt"/>
              </a:rPr>
              <a:t>自我反省存在的问题，和改进方向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74177" y="308270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/04</a:t>
            </a:r>
            <a:endParaRPr lang="zh-CN" altLang="en-US" spc="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262003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8225183-E020-45AB-ABEF-B902DCE6B9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不足之处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9D35184-F8C0-4308-860C-22D10CE35A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4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F79EB208-0AC7-4E04-BBC7-7FB100EEC7C6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197346"/>
            <a:ext cx="10845800" cy="2972700"/>
            <a:chOff x="673100" y="1197346"/>
            <a:chExt cx="10845800" cy="2972700"/>
          </a:xfrm>
        </p:grpSpPr>
        <p:cxnSp>
          <p:nvCxnSpPr>
            <p:cNvPr id="6" name="直接连接符 5">
              <a:extLst>
                <a:ext uri="{FF2B5EF4-FFF2-40B4-BE49-F238E27FC236}">
                  <a16:creationId xmlns:a16="http://schemas.microsoft.com/office/drawing/2014/main" id="{DF5C9C2B-4A91-4A6B-96ED-BC7B23D85714}"/>
                </a:ext>
              </a:extLst>
            </p:cNvPr>
            <p:cNvCxnSpPr/>
            <p:nvPr/>
          </p:nvCxnSpPr>
          <p:spPr>
            <a:xfrm>
              <a:off x="673100" y="3422784"/>
              <a:ext cx="10845800" cy="0"/>
            </a:xfrm>
            <a:prstGeom prst="line">
              <a:avLst/>
            </a:prstGeom>
            <a:ln w="15875">
              <a:solidFill>
                <a:schemeClr val="bg1">
                  <a:lumMod val="85000"/>
                </a:schemeClr>
              </a:solidFill>
              <a:prstDash val="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CAEB6001-93FB-474E-83F0-46305D6ADE33}"/>
                </a:ext>
              </a:extLst>
            </p:cNvPr>
            <p:cNvGrpSpPr/>
            <p:nvPr/>
          </p:nvGrpSpPr>
          <p:grpSpPr>
            <a:xfrm>
              <a:off x="874402" y="3464022"/>
              <a:ext cx="655558" cy="706024"/>
              <a:chOff x="1095906" y="3237442"/>
              <a:chExt cx="910153" cy="980218"/>
            </a:xfrm>
          </p:grpSpPr>
          <p:sp>
            <p:nvSpPr>
              <p:cNvPr id="35" name="椭圆 34">
                <a:extLst>
                  <a:ext uri="{FF2B5EF4-FFF2-40B4-BE49-F238E27FC236}">
                    <a16:creationId xmlns:a16="http://schemas.microsoft.com/office/drawing/2014/main" id="{AD45C7E0-7384-43D3-8221-15138562F226}"/>
                  </a:ext>
                </a:extLst>
              </p:cNvPr>
              <p:cNvSpPr/>
              <p:nvPr/>
            </p:nvSpPr>
            <p:spPr>
              <a:xfrm>
                <a:off x="1095906" y="3237442"/>
                <a:ext cx="910153" cy="980218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36" name="任意多边形: 形状 35">
                <a:extLst>
                  <a:ext uri="{FF2B5EF4-FFF2-40B4-BE49-F238E27FC236}">
                    <a16:creationId xmlns:a16="http://schemas.microsoft.com/office/drawing/2014/main" id="{A27AC49C-2820-42D7-88EE-6AB54D8CA04C}"/>
                  </a:ext>
                </a:extLst>
              </p:cNvPr>
              <p:cNvSpPr/>
              <p:nvPr/>
            </p:nvSpPr>
            <p:spPr bwMode="auto">
              <a:xfrm>
                <a:off x="1283940" y="3384504"/>
                <a:ext cx="534086" cy="533282"/>
              </a:xfrm>
              <a:custGeom>
                <a:avLst/>
                <a:gdLst>
                  <a:gd name="T0" fmla="*/ 9608 w 10667"/>
                  <a:gd name="T1" fmla="*/ 4056 h 10667"/>
                  <a:gd name="T2" fmla="*/ 9642 w 10667"/>
                  <a:gd name="T3" fmla="*/ 4561 h 10667"/>
                  <a:gd name="T4" fmla="*/ 9398 w 10667"/>
                  <a:gd name="T5" fmla="*/ 5365 h 10667"/>
                  <a:gd name="T6" fmla="*/ 9237 w 10667"/>
                  <a:gd name="T7" fmla="*/ 4433 h 10667"/>
                  <a:gd name="T8" fmla="*/ 8869 w 10667"/>
                  <a:gd name="T9" fmla="*/ 4582 h 10667"/>
                  <a:gd name="T10" fmla="*/ 8709 w 10667"/>
                  <a:gd name="T11" fmla="*/ 5514 h 10667"/>
                  <a:gd name="T12" fmla="*/ 8952 w 10667"/>
                  <a:gd name="T13" fmla="*/ 5395 h 10667"/>
                  <a:gd name="T14" fmla="*/ 8998 w 10667"/>
                  <a:gd name="T15" fmla="*/ 6944 h 10667"/>
                  <a:gd name="T16" fmla="*/ 9239 w 10667"/>
                  <a:gd name="T17" fmla="*/ 5720 h 10667"/>
                  <a:gd name="T18" fmla="*/ 9377 w 10667"/>
                  <a:gd name="T19" fmla="*/ 6807 h 10667"/>
                  <a:gd name="T20" fmla="*/ 9687 w 10667"/>
                  <a:gd name="T21" fmla="*/ 6787 h 10667"/>
                  <a:gd name="T22" fmla="*/ 9559 w 10667"/>
                  <a:gd name="T23" fmla="*/ 4821 h 10667"/>
                  <a:gd name="T24" fmla="*/ 9939 w 10667"/>
                  <a:gd name="T25" fmla="*/ 5391 h 10667"/>
                  <a:gd name="T26" fmla="*/ 6566 w 10667"/>
                  <a:gd name="T27" fmla="*/ 1130 h 10667"/>
                  <a:gd name="T28" fmla="*/ 5448 w 10667"/>
                  <a:gd name="T29" fmla="*/ 2261 h 10667"/>
                  <a:gd name="T30" fmla="*/ 7197 w 10667"/>
                  <a:gd name="T31" fmla="*/ 8282 h 10667"/>
                  <a:gd name="T32" fmla="*/ 6553 w 10667"/>
                  <a:gd name="T33" fmla="*/ 5860 h 10667"/>
                  <a:gd name="T34" fmla="*/ 6867 w 10667"/>
                  <a:gd name="T35" fmla="*/ 5540 h 10667"/>
                  <a:gd name="T36" fmla="*/ 6677 w 10667"/>
                  <a:gd name="T37" fmla="*/ 2794 h 10667"/>
                  <a:gd name="T38" fmla="*/ 5875 w 10667"/>
                  <a:gd name="T39" fmla="*/ 5440 h 10667"/>
                  <a:gd name="T40" fmla="*/ 5344 w 10667"/>
                  <a:gd name="T41" fmla="*/ 2372 h 10667"/>
                  <a:gd name="T42" fmla="*/ 4134 w 10667"/>
                  <a:gd name="T43" fmla="*/ 2863 h 10667"/>
                  <a:gd name="T44" fmla="*/ 3606 w 10667"/>
                  <a:gd name="T45" fmla="*/ 5931 h 10667"/>
                  <a:gd name="T46" fmla="*/ 4406 w 10667"/>
                  <a:gd name="T47" fmla="*/ 5536 h 10667"/>
                  <a:gd name="T48" fmla="*/ 3036 w 10667"/>
                  <a:gd name="T49" fmla="*/ 8836 h 10667"/>
                  <a:gd name="T50" fmla="*/ 1301 w 10667"/>
                  <a:gd name="T51" fmla="*/ 9187 h 10667"/>
                  <a:gd name="T52" fmla="*/ 3942 w 10667"/>
                  <a:gd name="T53" fmla="*/ 10566 h 10667"/>
                  <a:gd name="T54" fmla="*/ 8368 w 10667"/>
                  <a:gd name="T55" fmla="*/ 10227 h 10667"/>
                  <a:gd name="T56" fmla="*/ 5409 w 10667"/>
                  <a:gd name="T57" fmla="*/ 9687 h 10667"/>
                  <a:gd name="T58" fmla="*/ 5462 w 10667"/>
                  <a:gd name="T59" fmla="*/ 6588 h 10667"/>
                  <a:gd name="T60" fmla="*/ 5409 w 10667"/>
                  <a:gd name="T61" fmla="*/ 9687 h 10667"/>
                  <a:gd name="T62" fmla="*/ 9674 w 10667"/>
                  <a:gd name="T63" fmla="*/ 7185 h 10667"/>
                  <a:gd name="T64" fmla="*/ 9255 w 10667"/>
                  <a:gd name="T65" fmla="*/ 7228 h 10667"/>
                  <a:gd name="T66" fmla="*/ 8691 w 10667"/>
                  <a:gd name="T67" fmla="*/ 6602 h 10667"/>
                  <a:gd name="T68" fmla="*/ 10667 w 10667"/>
                  <a:gd name="T69" fmla="*/ 7058 h 10667"/>
                  <a:gd name="T70" fmla="*/ 1068 w 10667"/>
                  <a:gd name="T71" fmla="*/ 4056 h 10667"/>
                  <a:gd name="T72" fmla="*/ 1407 w 10667"/>
                  <a:gd name="T73" fmla="*/ 4399 h 10667"/>
                  <a:gd name="T74" fmla="*/ 1620 w 10667"/>
                  <a:gd name="T75" fmla="*/ 4469 h 10667"/>
                  <a:gd name="T76" fmla="*/ 1410 w 10667"/>
                  <a:gd name="T77" fmla="*/ 5515 h 10667"/>
                  <a:gd name="T78" fmla="*/ 1189 w 10667"/>
                  <a:gd name="T79" fmla="*/ 4467 h 10667"/>
                  <a:gd name="T80" fmla="*/ 728 w 10667"/>
                  <a:gd name="T81" fmla="*/ 5387 h 10667"/>
                  <a:gd name="T82" fmla="*/ 967 w 10667"/>
                  <a:gd name="T83" fmla="*/ 5399 h 10667"/>
                  <a:gd name="T84" fmla="*/ 1088 w 10667"/>
                  <a:gd name="T85" fmla="*/ 5407 h 10667"/>
                  <a:gd name="T86" fmla="*/ 1148 w 10667"/>
                  <a:gd name="T87" fmla="*/ 6944 h 10667"/>
                  <a:gd name="T88" fmla="*/ 1411 w 10667"/>
                  <a:gd name="T89" fmla="*/ 5714 h 10667"/>
                  <a:gd name="T90" fmla="*/ 1671 w 10667"/>
                  <a:gd name="T91" fmla="*/ 6954 h 10667"/>
                  <a:gd name="T92" fmla="*/ 1743 w 10667"/>
                  <a:gd name="T93" fmla="*/ 5493 h 10667"/>
                  <a:gd name="T94" fmla="*/ 1838 w 10667"/>
                  <a:gd name="T95" fmla="*/ 5396 h 10667"/>
                  <a:gd name="T96" fmla="*/ 1780 w 10667"/>
                  <a:gd name="T97" fmla="*/ 4561 h 10667"/>
                  <a:gd name="T98" fmla="*/ 1813 w 10667"/>
                  <a:gd name="T99" fmla="*/ 7185 h 10667"/>
                  <a:gd name="T100" fmla="*/ 1394 w 10667"/>
                  <a:gd name="T101" fmla="*/ 7228 h 10667"/>
                  <a:gd name="T102" fmla="*/ 830 w 10667"/>
                  <a:gd name="T103" fmla="*/ 6602 h 10667"/>
                  <a:gd name="T104" fmla="*/ 2805 w 10667"/>
                  <a:gd name="T105" fmla="*/ 7058 h 10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667" h="10667">
                    <a:moveTo>
                      <a:pt x="8929" y="4056"/>
                    </a:moveTo>
                    <a:cubicBezTo>
                      <a:pt x="8929" y="3866"/>
                      <a:pt x="9081" y="3713"/>
                      <a:pt x="9268" y="3713"/>
                    </a:cubicBezTo>
                    <a:cubicBezTo>
                      <a:pt x="9456" y="3713"/>
                      <a:pt x="9608" y="3866"/>
                      <a:pt x="9608" y="4056"/>
                    </a:cubicBezTo>
                    <a:cubicBezTo>
                      <a:pt x="9608" y="4246"/>
                      <a:pt x="9456" y="4399"/>
                      <a:pt x="9268" y="4399"/>
                    </a:cubicBezTo>
                    <a:cubicBezTo>
                      <a:pt x="9081" y="4399"/>
                      <a:pt x="8929" y="4246"/>
                      <a:pt x="8929" y="4056"/>
                    </a:cubicBezTo>
                    <a:close/>
                    <a:moveTo>
                      <a:pt x="9642" y="4561"/>
                    </a:moveTo>
                    <a:cubicBezTo>
                      <a:pt x="9592" y="4523"/>
                      <a:pt x="9541" y="4489"/>
                      <a:pt x="9482" y="4469"/>
                    </a:cubicBezTo>
                    <a:cubicBezTo>
                      <a:pt x="9427" y="4449"/>
                      <a:pt x="9369" y="4439"/>
                      <a:pt x="9310" y="4434"/>
                    </a:cubicBezTo>
                    <a:lnTo>
                      <a:pt x="9398" y="5365"/>
                    </a:lnTo>
                    <a:lnTo>
                      <a:pt x="9272" y="5515"/>
                    </a:lnTo>
                    <a:lnTo>
                      <a:pt x="9127" y="5365"/>
                    </a:lnTo>
                    <a:lnTo>
                      <a:pt x="9237" y="4433"/>
                    </a:lnTo>
                    <a:cubicBezTo>
                      <a:pt x="9173" y="4435"/>
                      <a:pt x="9110" y="4446"/>
                      <a:pt x="9050" y="4467"/>
                    </a:cubicBezTo>
                    <a:cubicBezTo>
                      <a:pt x="9025" y="4476"/>
                      <a:pt x="9002" y="4487"/>
                      <a:pt x="8979" y="4500"/>
                    </a:cubicBezTo>
                    <a:cubicBezTo>
                      <a:pt x="8940" y="4523"/>
                      <a:pt x="8903" y="4551"/>
                      <a:pt x="8869" y="4582"/>
                    </a:cubicBezTo>
                    <a:cubicBezTo>
                      <a:pt x="8700" y="4734"/>
                      <a:pt x="8609" y="4997"/>
                      <a:pt x="8589" y="5387"/>
                    </a:cubicBezTo>
                    <a:cubicBezTo>
                      <a:pt x="8586" y="5454"/>
                      <a:pt x="8637" y="5511"/>
                      <a:pt x="8703" y="5514"/>
                    </a:cubicBezTo>
                    <a:cubicBezTo>
                      <a:pt x="8705" y="5514"/>
                      <a:pt x="8707" y="5514"/>
                      <a:pt x="8709" y="5514"/>
                    </a:cubicBezTo>
                    <a:cubicBezTo>
                      <a:pt x="8772" y="5514"/>
                      <a:pt x="8825" y="5464"/>
                      <a:pt x="8828" y="5399"/>
                    </a:cubicBezTo>
                    <a:cubicBezTo>
                      <a:pt x="8842" y="5135"/>
                      <a:pt x="8893" y="4938"/>
                      <a:pt x="8978" y="4821"/>
                    </a:cubicBezTo>
                    <a:cubicBezTo>
                      <a:pt x="8972" y="4944"/>
                      <a:pt x="8961" y="5167"/>
                      <a:pt x="8952" y="5395"/>
                    </a:cubicBezTo>
                    <a:cubicBezTo>
                      <a:pt x="8951" y="5399"/>
                      <a:pt x="8950" y="5403"/>
                      <a:pt x="8950" y="5407"/>
                    </a:cubicBezTo>
                    <a:lnTo>
                      <a:pt x="8854" y="6776"/>
                    </a:lnTo>
                    <a:cubicBezTo>
                      <a:pt x="8848" y="6863"/>
                      <a:pt x="8912" y="6938"/>
                      <a:pt x="8998" y="6944"/>
                    </a:cubicBezTo>
                    <a:cubicBezTo>
                      <a:pt x="9002" y="6944"/>
                      <a:pt x="9005" y="6944"/>
                      <a:pt x="9009" y="6944"/>
                    </a:cubicBezTo>
                    <a:cubicBezTo>
                      <a:pt x="9090" y="6944"/>
                      <a:pt x="9158" y="6881"/>
                      <a:pt x="9163" y="6798"/>
                    </a:cubicBezTo>
                    <a:lnTo>
                      <a:pt x="9239" y="5720"/>
                    </a:lnTo>
                    <a:cubicBezTo>
                      <a:pt x="9251" y="5717"/>
                      <a:pt x="9262" y="5714"/>
                      <a:pt x="9273" y="5714"/>
                    </a:cubicBezTo>
                    <a:cubicBezTo>
                      <a:pt x="9284" y="5714"/>
                      <a:pt x="9296" y="5716"/>
                      <a:pt x="9307" y="5717"/>
                    </a:cubicBezTo>
                    <a:lnTo>
                      <a:pt x="9377" y="6807"/>
                    </a:lnTo>
                    <a:cubicBezTo>
                      <a:pt x="9382" y="6890"/>
                      <a:pt x="9451" y="6954"/>
                      <a:pt x="9532" y="6954"/>
                    </a:cubicBezTo>
                    <a:cubicBezTo>
                      <a:pt x="9535" y="6954"/>
                      <a:pt x="9539" y="6954"/>
                      <a:pt x="9542" y="6954"/>
                    </a:cubicBezTo>
                    <a:cubicBezTo>
                      <a:pt x="9628" y="6948"/>
                      <a:pt x="9692" y="6873"/>
                      <a:pt x="9687" y="6787"/>
                    </a:cubicBezTo>
                    <a:lnTo>
                      <a:pt x="9604" y="5493"/>
                    </a:lnTo>
                    <a:cubicBezTo>
                      <a:pt x="9604" y="5486"/>
                      <a:pt x="9602" y="5479"/>
                      <a:pt x="9601" y="5472"/>
                    </a:cubicBezTo>
                    <a:cubicBezTo>
                      <a:pt x="9594" y="5274"/>
                      <a:pt x="9571" y="4981"/>
                      <a:pt x="9559" y="4821"/>
                    </a:cubicBezTo>
                    <a:cubicBezTo>
                      <a:pt x="9645" y="4939"/>
                      <a:pt x="9694" y="5134"/>
                      <a:pt x="9700" y="5396"/>
                    </a:cubicBezTo>
                    <a:cubicBezTo>
                      <a:pt x="9701" y="5462"/>
                      <a:pt x="9754" y="5514"/>
                      <a:pt x="9822" y="5514"/>
                    </a:cubicBezTo>
                    <a:cubicBezTo>
                      <a:pt x="9888" y="5513"/>
                      <a:pt x="9940" y="5458"/>
                      <a:pt x="9939" y="5391"/>
                    </a:cubicBezTo>
                    <a:cubicBezTo>
                      <a:pt x="9931" y="4988"/>
                      <a:pt x="9831" y="4709"/>
                      <a:pt x="9642" y="4561"/>
                    </a:cubicBezTo>
                    <a:close/>
                    <a:moveTo>
                      <a:pt x="5448" y="2261"/>
                    </a:moveTo>
                    <a:cubicBezTo>
                      <a:pt x="6065" y="2261"/>
                      <a:pt x="6566" y="1755"/>
                      <a:pt x="6566" y="1130"/>
                    </a:cubicBezTo>
                    <a:cubicBezTo>
                      <a:pt x="6566" y="506"/>
                      <a:pt x="6065" y="0"/>
                      <a:pt x="5448" y="0"/>
                    </a:cubicBezTo>
                    <a:cubicBezTo>
                      <a:pt x="4832" y="0"/>
                      <a:pt x="4332" y="506"/>
                      <a:pt x="4332" y="1130"/>
                    </a:cubicBezTo>
                    <a:cubicBezTo>
                      <a:pt x="4332" y="1755"/>
                      <a:pt x="4832" y="2261"/>
                      <a:pt x="5448" y="2261"/>
                    </a:cubicBezTo>
                    <a:close/>
                    <a:moveTo>
                      <a:pt x="9566" y="9187"/>
                    </a:moveTo>
                    <a:cubicBezTo>
                      <a:pt x="9566" y="8589"/>
                      <a:pt x="8569" y="8079"/>
                      <a:pt x="7146" y="7846"/>
                    </a:cubicBezTo>
                    <a:lnTo>
                      <a:pt x="7197" y="8282"/>
                    </a:lnTo>
                    <a:cubicBezTo>
                      <a:pt x="7559" y="8431"/>
                      <a:pt x="7781" y="8624"/>
                      <a:pt x="7781" y="8836"/>
                    </a:cubicBezTo>
                    <a:cubicBezTo>
                      <a:pt x="7781" y="9120"/>
                      <a:pt x="7386" y="9369"/>
                      <a:pt x="6788" y="9523"/>
                    </a:cubicBezTo>
                    <a:lnTo>
                      <a:pt x="6553" y="5860"/>
                    </a:lnTo>
                    <a:cubicBezTo>
                      <a:pt x="6552" y="5836"/>
                      <a:pt x="6547" y="5814"/>
                      <a:pt x="6542" y="5791"/>
                    </a:cubicBezTo>
                    <a:cubicBezTo>
                      <a:pt x="6519" y="5139"/>
                      <a:pt x="6446" y="4174"/>
                      <a:pt x="6403" y="3649"/>
                    </a:cubicBezTo>
                    <a:cubicBezTo>
                      <a:pt x="6689" y="4036"/>
                      <a:pt x="6850" y="4677"/>
                      <a:pt x="6867" y="5540"/>
                    </a:cubicBezTo>
                    <a:cubicBezTo>
                      <a:pt x="6872" y="5758"/>
                      <a:pt x="7047" y="5931"/>
                      <a:pt x="7269" y="5931"/>
                    </a:cubicBezTo>
                    <a:cubicBezTo>
                      <a:pt x="7487" y="5926"/>
                      <a:pt x="7660" y="5744"/>
                      <a:pt x="7655" y="5524"/>
                    </a:cubicBezTo>
                    <a:cubicBezTo>
                      <a:pt x="7628" y="4200"/>
                      <a:pt x="7299" y="3281"/>
                      <a:pt x="6677" y="2794"/>
                    </a:cubicBezTo>
                    <a:cubicBezTo>
                      <a:pt x="6515" y="2666"/>
                      <a:pt x="6346" y="2557"/>
                      <a:pt x="6150" y="2489"/>
                    </a:cubicBezTo>
                    <a:cubicBezTo>
                      <a:pt x="5969" y="2425"/>
                      <a:pt x="5778" y="2390"/>
                      <a:pt x="5587" y="2376"/>
                    </a:cubicBezTo>
                    <a:lnTo>
                      <a:pt x="5875" y="5440"/>
                    </a:lnTo>
                    <a:lnTo>
                      <a:pt x="5459" y="5934"/>
                    </a:lnTo>
                    <a:lnTo>
                      <a:pt x="4983" y="5440"/>
                    </a:lnTo>
                    <a:lnTo>
                      <a:pt x="5344" y="2372"/>
                    </a:lnTo>
                    <a:cubicBezTo>
                      <a:pt x="5135" y="2379"/>
                      <a:pt x="4926" y="2413"/>
                      <a:pt x="4729" y="2484"/>
                    </a:cubicBezTo>
                    <a:cubicBezTo>
                      <a:pt x="4648" y="2513"/>
                      <a:pt x="4570" y="2548"/>
                      <a:pt x="4496" y="2592"/>
                    </a:cubicBezTo>
                    <a:cubicBezTo>
                      <a:pt x="4366" y="2669"/>
                      <a:pt x="4247" y="2762"/>
                      <a:pt x="4134" y="2863"/>
                    </a:cubicBezTo>
                    <a:cubicBezTo>
                      <a:pt x="3578" y="3362"/>
                      <a:pt x="3276" y="4228"/>
                      <a:pt x="3213" y="5512"/>
                    </a:cubicBezTo>
                    <a:cubicBezTo>
                      <a:pt x="3202" y="5732"/>
                      <a:pt x="3369" y="5919"/>
                      <a:pt x="3586" y="5930"/>
                    </a:cubicBezTo>
                    <a:cubicBezTo>
                      <a:pt x="3593" y="5931"/>
                      <a:pt x="3600" y="5931"/>
                      <a:pt x="3606" y="5931"/>
                    </a:cubicBezTo>
                    <a:cubicBezTo>
                      <a:pt x="3815" y="5931"/>
                      <a:pt x="3989" y="5765"/>
                      <a:pt x="4000" y="5552"/>
                    </a:cubicBezTo>
                    <a:cubicBezTo>
                      <a:pt x="4043" y="4683"/>
                      <a:pt x="4213" y="4034"/>
                      <a:pt x="4493" y="3649"/>
                    </a:cubicBezTo>
                    <a:cubicBezTo>
                      <a:pt x="4473" y="4053"/>
                      <a:pt x="4437" y="4787"/>
                      <a:pt x="4406" y="5536"/>
                    </a:cubicBezTo>
                    <a:cubicBezTo>
                      <a:pt x="4404" y="5550"/>
                      <a:pt x="4400" y="5563"/>
                      <a:pt x="4399" y="5577"/>
                    </a:cubicBezTo>
                    <a:lnTo>
                      <a:pt x="4121" y="9550"/>
                    </a:lnTo>
                    <a:cubicBezTo>
                      <a:pt x="3469" y="9398"/>
                      <a:pt x="3036" y="9136"/>
                      <a:pt x="3036" y="8836"/>
                    </a:cubicBezTo>
                    <a:cubicBezTo>
                      <a:pt x="3036" y="8606"/>
                      <a:pt x="3298" y="8398"/>
                      <a:pt x="3715" y="8245"/>
                    </a:cubicBezTo>
                    <a:lnTo>
                      <a:pt x="3745" y="7843"/>
                    </a:lnTo>
                    <a:cubicBezTo>
                      <a:pt x="2309" y="8075"/>
                      <a:pt x="1301" y="8586"/>
                      <a:pt x="1301" y="9187"/>
                    </a:cubicBezTo>
                    <a:cubicBezTo>
                      <a:pt x="1301" y="9666"/>
                      <a:pt x="1867" y="9963"/>
                      <a:pt x="2241" y="10125"/>
                    </a:cubicBezTo>
                    <a:cubicBezTo>
                      <a:pt x="2579" y="10272"/>
                      <a:pt x="2936" y="10374"/>
                      <a:pt x="3295" y="10452"/>
                    </a:cubicBezTo>
                    <a:cubicBezTo>
                      <a:pt x="3509" y="10498"/>
                      <a:pt x="3725" y="10536"/>
                      <a:pt x="3942" y="10566"/>
                    </a:cubicBezTo>
                    <a:cubicBezTo>
                      <a:pt x="4438" y="10635"/>
                      <a:pt x="4931" y="10667"/>
                      <a:pt x="5434" y="10667"/>
                    </a:cubicBezTo>
                    <a:cubicBezTo>
                      <a:pt x="5609" y="10667"/>
                      <a:pt x="5784" y="10662"/>
                      <a:pt x="5959" y="10654"/>
                    </a:cubicBezTo>
                    <a:cubicBezTo>
                      <a:pt x="6767" y="10615"/>
                      <a:pt x="7596" y="10506"/>
                      <a:pt x="8368" y="10227"/>
                    </a:cubicBezTo>
                    <a:cubicBezTo>
                      <a:pt x="8794" y="10073"/>
                      <a:pt x="9463" y="9799"/>
                      <a:pt x="9557" y="9286"/>
                    </a:cubicBezTo>
                    <a:cubicBezTo>
                      <a:pt x="9563" y="9253"/>
                      <a:pt x="9566" y="9220"/>
                      <a:pt x="9566" y="9187"/>
                    </a:cubicBezTo>
                    <a:close/>
                    <a:moveTo>
                      <a:pt x="5409" y="9687"/>
                    </a:moveTo>
                    <a:cubicBezTo>
                      <a:pt x="5316" y="9687"/>
                      <a:pt x="5226" y="9685"/>
                      <a:pt x="5136" y="9681"/>
                    </a:cubicBezTo>
                    <a:lnTo>
                      <a:pt x="5351" y="6608"/>
                    </a:lnTo>
                    <a:cubicBezTo>
                      <a:pt x="5390" y="6597"/>
                      <a:pt x="5429" y="6588"/>
                      <a:pt x="5462" y="6588"/>
                    </a:cubicBezTo>
                    <a:cubicBezTo>
                      <a:pt x="5501" y="6588"/>
                      <a:pt x="5539" y="6595"/>
                      <a:pt x="5577" y="6599"/>
                    </a:cubicBezTo>
                    <a:lnTo>
                      <a:pt x="5773" y="9671"/>
                    </a:lnTo>
                    <a:cubicBezTo>
                      <a:pt x="5653" y="9678"/>
                      <a:pt x="5535" y="9687"/>
                      <a:pt x="5409" y="9687"/>
                    </a:cubicBezTo>
                    <a:close/>
                    <a:moveTo>
                      <a:pt x="9863" y="6751"/>
                    </a:moveTo>
                    <a:cubicBezTo>
                      <a:pt x="9985" y="6801"/>
                      <a:pt x="10061" y="6867"/>
                      <a:pt x="10061" y="6939"/>
                    </a:cubicBezTo>
                    <a:cubicBezTo>
                      <a:pt x="10061" y="7043"/>
                      <a:pt x="9905" y="7134"/>
                      <a:pt x="9674" y="7185"/>
                    </a:cubicBezTo>
                    <a:cubicBezTo>
                      <a:pt x="9657" y="7190"/>
                      <a:pt x="9638" y="7195"/>
                      <a:pt x="9619" y="7197"/>
                    </a:cubicBezTo>
                    <a:cubicBezTo>
                      <a:pt x="9614" y="7198"/>
                      <a:pt x="9609" y="7198"/>
                      <a:pt x="9605" y="7198"/>
                    </a:cubicBezTo>
                    <a:cubicBezTo>
                      <a:pt x="9499" y="7217"/>
                      <a:pt x="9382" y="7228"/>
                      <a:pt x="9255" y="7228"/>
                    </a:cubicBezTo>
                    <a:cubicBezTo>
                      <a:pt x="8811" y="7228"/>
                      <a:pt x="8451" y="7098"/>
                      <a:pt x="8451" y="6939"/>
                    </a:cubicBezTo>
                    <a:cubicBezTo>
                      <a:pt x="8451" y="6861"/>
                      <a:pt x="8539" y="6790"/>
                      <a:pt x="8681" y="6739"/>
                    </a:cubicBezTo>
                    <a:lnTo>
                      <a:pt x="8691" y="6602"/>
                    </a:lnTo>
                    <a:cubicBezTo>
                      <a:pt x="8203" y="6681"/>
                      <a:pt x="7861" y="6854"/>
                      <a:pt x="7861" y="7058"/>
                    </a:cubicBezTo>
                    <a:cubicBezTo>
                      <a:pt x="7861" y="7335"/>
                      <a:pt x="8489" y="7560"/>
                      <a:pt x="9264" y="7560"/>
                    </a:cubicBezTo>
                    <a:cubicBezTo>
                      <a:pt x="10039" y="7560"/>
                      <a:pt x="10667" y="7335"/>
                      <a:pt x="10667" y="7058"/>
                    </a:cubicBezTo>
                    <a:cubicBezTo>
                      <a:pt x="10667" y="6855"/>
                      <a:pt x="10328" y="6682"/>
                      <a:pt x="9845" y="6603"/>
                    </a:cubicBezTo>
                    <a:lnTo>
                      <a:pt x="9863" y="6751"/>
                    </a:lnTo>
                    <a:close/>
                    <a:moveTo>
                      <a:pt x="1068" y="4056"/>
                    </a:moveTo>
                    <a:cubicBezTo>
                      <a:pt x="1068" y="3866"/>
                      <a:pt x="1220" y="3713"/>
                      <a:pt x="1407" y="3713"/>
                    </a:cubicBezTo>
                    <a:cubicBezTo>
                      <a:pt x="1594" y="3713"/>
                      <a:pt x="1747" y="3866"/>
                      <a:pt x="1747" y="4056"/>
                    </a:cubicBezTo>
                    <a:cubicBezTo>
                      <a:pt x="1747" y="4246"/>
                      <a:pt x="1594" y="4399"/>
                      <a:pt x="1407" y="4399"/>
                    </a:cubicBezTo>
                    <a:cubicBezTo>
                      <a:pt x="1220" y="4399"/>
                      <a:pt x="1068" y="4246"/>
                      <a:pt x="1068" y="4056"/>
                    </a:cubicBezTo>
                    <a:close/>
                    <a:moveTo>
                      <a:pt x="1780" y="4561"/>
                    </a:moveTo>
                    <a:cubicBezTo>
                      <a:pt x="1731" y="4523"/>
                      <a:pt x="1680" y="4489"/>
                      <a:pt x="1620" y="4469"/>
                    </a:cubicBezTo>
                    <a:cubicBezTo>
                      <a:pt x="1565" y="4449"/>
                      <a:pt x="1507" y="4439"/>
                      <a:pt x="1449" y="4434"/>
                    </a:cubicBezTo>
                    <a:lnTo>
                      <a:pt x="1537" y="5365"/>
                    </a:lnTo>
                    <a:lnTo>
                      <a:pt x="1410" y="5515"/>
                    </a:lnTo>
                    <a:lnTo>
                      <a:pt x="1266" y="5365"/>
                    </a:lnTo>
                    <a:lnTo>
                      <a:pt x="1376" y="4433"/>
                    </a:lnTo>
                    <a:cubicBezTo>
                      <a:pt x="1312" y="4435"/>
                      <a:pt x="1248" y="4446"/>
                      <a:pt x="1189" y="4467"/>
                    </a:cubicBezTo>
                    <a:cubicBezTo>
                      <a:pt x="1164" y="4476"/>
                      <a:pt x="1140" y="4487"/>
                      <a:pt x="1118" y="4500"/>
                    </a:cubicBezTo>
                    <a:cubicBezTo>
                      <a:pt x="1078" y="4523"/>
                      <a:pt x="1042" y="4551"/>
                      <a:pt x="1008" y="4582"/>
                    </a:cubicBezTo>
                    <a:cubicBezTo>
                      <a:pt x="839" y="4734"/>
                      <a:pt x="747" y="4997"/>
                      <a:pt x="728" y="5387"/>
                    </a:cubicBezTo>
                    <a:cubicBezTo>
                      <a:pt x="725" y="5454"/>
                      <a:pt x="775" y="5511"/>
                      <a:pt x="841" y="5514"/>
                    </a:cubicBezTo>
                    <a:cubicBezTo>
                      <a:pt x="843" y="5514"/>
                      <a:pt x="845" y="5514"/>
                      <a:pt x="848" y="5514"/>
                    </a:cubicBezTo>
                    <a:cubicBezTo>
                      <a:pt x="911" y="5514"/>
                      <a:pt x="964" y="5464"/>
                      <a:pt x="967" y="5399"/>
                    </a:cubicBezTo>
                    <a:cubicBezTo>
                      <a:pt x="980" y="5135"/>
                      <a:pt x="1032" y="4938"/>
                      <a:pt x="1117" y="4821"/>
                    </a:cubicBezTo>
                    <a:cubicBezTo>
                      <a:pt x="1111" y="4944"/>
                      <a:pt x="1100" y="5167"/>
                      <a:pt x="1090" y="5395"/>
                    </a:cubicBezTo>
                    <a:cubicBezTo>
                      <a:pt x="1090" y="5399"/>
                      <a:pt x="1089" y="5403"/>
                      <a:pt x="1088" y="5407"/>
                    </a:cubicBezTo>
                    <a:lnTo>
                      <a:pt x="993" y="6776"/>
                    </a:lnTo>
                    <a:cubicBezTo>
                      <a:pt x="987" y="6863"/>
                      <a:pt x="1051" y="6938"/>
                      <a:pt x="1136" y="6944"/>
                    </a:cubicBezTo>
                    <a:cubicBezTo>
                      <a:pt x="1140" y="6944"/>
                      <a:pt x="1144" y="6944"/>
                      <a:pt x="1148" y="6944"/>
                    </a:cubicBezTo>
                    <a:cubicBezTo>
                      <a:pt x="1228" y="6944"/>
                      <a:pt x="1296" y="6881"/>
                      <a:pt x="1302" y="6798"/>
                    </a:cubicBezTo>
                    <a:lnTo>
                      <a:pt x="1378" y="5720"/>
                    </a:lnTo>
                    <a:cubicBezTo>
                      <a:pt x="1389" y="5717"/>
                      <a:pt x="1401" y="5714"/>
                      <a:pt x="1411" y="5714"/>
                    </a:cubicBezTo>
                    <a:cubicBezTo>
                      <a:pt x="1423" y="5714"/>
                      <a:pt x="1435" y="5716"/>
                      <a:pt x="1446" y="5717"/>
                    </a:cubicBezTo>
                    <a:lnTo>
                      <a:pt x="1516" y="6807"/>
                    </a:lnTo>
                    <a:cubicBezTo>
                      <a:pt x="1521" y="6890"/>
                      <a:pt x="1589" y="6954"/>
                      <a:pt x="1671" y="6954"/>
                    </a:cubicBezTo>
                    <a:cubicBezTo>
                      <a:pt x="1674" y="6954"/>
                      <a:pt x="1677" y="6954"/>
                      <a:pt x="1681" y="6954"/>
                    </a:cubicBezTo>
                    <a:cubicBezTo>
                      <a:pt x="1766" y="6948"/>
                      <a:pt x="1831" y="6873"/>
                      <a:pt x="1826" y="6787"/>
                    </a:cubicBezTo>
                    <a:lnTo>
                      <a:pt x="1743" y="5493"/>
                    </a:lnTo>
                    <a:cubicBezTo>
                      <a:pt x="1742" y="5486"/>
                      <a:pt x="1741" y="5479"/>
                      <a:pt x="1739" y="5472"/>
                    </a:cubicBezTo>
                    <a:cubicBezTo>
                      <a:pt x="1732" y="5274"/>
                      <a:pt x="1710" y="4981"/>
                      <a:pt x="1697" y="4821"/>
                    </a:cubicBezTo>
                    <a:cubicBezTo>
                      <a:pt x="1784" y="4939"/>
                      <a:pt x="1833" y="5134"/>
                      <a:pt x="1838" y="5396"/>
                    </a:cubicBezTo>
                    <a:cubicBezTo>
                      <a:pt x="1840" y="5462"/>
                      <a:pt x="1893" y="5514"/>
                      <a:pt x="1960" y="5514"/>
                    </a:cubicBezTo>
                    <a:cubicBezTo>
                      <a:pt x="2027" y="5513"/>
                      <a:pt x="2079" y="5458"/>
                      <a:pt x="2078" y="5391"/>
                    </a:cubicBezTo>
                    <a:cubicBezTo>
                      <a:pt x="2069" y="4988"/>
                      <a:pt x="1969" y="4709"/>
                      <a:pt x="1780" y="4561"/>
                    </a:cubicBezTo>
                    <a:close/>
                    <a:moveTo>
                      <a:pt x="2002" y="6751"/>
                    </a:moveTo>
                    <a:cubicBezTo>
                      <a:pt x="2124" y="6801"/>
                      <a:pt x="2200" y="6867"/>
                      <a:pt x="2200" y="6939"/>
                    </a:cubicBezTo>
                    <a:cubicBezTo>
                      <a:pt x="2200" y="7043"/>
                      <a:pt x="2044" y="7134"/>
                      <a:pt x="1813" y="7185"/>
                    </a:cubicBezTo>
                    <a:cubicBezTo>
                      <a:pt x="1795" y="7190"/>
                      <a:pt x="1777" y="7195"/>
                      <a:pt x="1758" y="7197"/>
                    </a:cubicBezTo>
                    <a:cubicBezTo>
                      <a:pt x="1753" y="7198"/>
                      <a:pt x="1748" y="7198"/>
                      <a:pt x="1743" y="7198"/>
                    </a:cubicBezTo>
                    <a:cubicBezTo>
                      <a:pt x="1637" y="7217"/>
                      <a:pt x="1520" y="7228"/>
                      <a:pt x="1394" y="7228"/>
                    </a:cubicBezTo>
                    <a:cubicBezTo>
                      <a:pt x="950" y="7228"/>
                      <a:pt x="589" y="7098"/>
                      <a:pt x="589" y="6939"/>
                    </a:cubicBezTo>
                    <a:cubicBezTo>
                      <a:pt x="589" y="6861"/>
                      <a:pt x="678" y="6790"/>
                      <a:pt x="820" y="6739"/>
                    </a:cubicBezTo>
                    <a:lnTo>
                      <a:pt x="830" y="6602"/>
                    </a:lnTo>
                    <a:cubicBezTo>
                      <a:pt x="342" y="6681"/>
                      <a:pt x="0" y="6854"/>
                      <a:pt x="0" y="7058"/>
                    </a:cubicBezTo>
                    <a:cubicBezTo>
                      <a:pt x="0" y="7335"/>
                      <a:pt x="628" y="7560"/>
                      <a:pt x="1403" y="7560"/>
                    </a:cubicBezTo>
                    <a:cubicBezTo>
                      <a:pt x="2177" y="7560"/>
                      <a:pt x="2805" y="7335"/>
                      <a:pt x="2805" y="7058"/>
                    </a:cubicBezTo>
                    <a:cubicBezTo>
                      <a:pt x="2805" y="6855"/>
                      <a:pt x="2467" y="6682"/>
                      <a:pt x="1984" y="6603"/>
                    </a:cubicBezTo>
                    <a:lnTo>
                      <a:pt x="2002" y="6751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</a:ln>
            </p:spPr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3B796757-83BA-4AFA-A9AC-1E53B7746459}"/>
                </a:ext>
              </a:extLst>
            </p:cNvPr>
            <p:cNvGrpSpPr/>
            <p:nvPr/>
          </p:nvGrpSpPr>
          <p:grpSpPr>
            <a:xfrm>
              <a:off x="849169" y="1197346"/>
              <a:ext cx="706024" cy="706024"/>
              <a:chOff x="-1827930" y="90471"/>
              <a:chExt cx="980218" cy="980218"/>
            </a:xfrm>
          </p:grpSpPr>
          <p:sp>
            <p:nvSpPr>
              <p:cNvPr id="33" name="椭圆 32">
                <a:extLst>
                  <a:ext uri="{FF2B5EF4-FFF2-40B4-BE49-F238E27FC236}">
                    <a16:creationId xmlns:a16="http://schemas.microsoft.com/office/drawing/2014/main" id="{43DC0EB5-DECF-42B2-A0A8-FC5D1341AA5D}"/>
                  </a:ext>
                </a:extLst>
              </p:cNvPr>
              <p:cNvSpPr/>
              <p:nvPr/>
            </p:nvSpPr>
            <p:spPr>
              <a:xfrm>
                <a:off x="-1827930" y="90471"/>
                <a:ext cx="980218" cy="980218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34" name="任意多边形: 形状 33">
                <a:extLst>
                  <a:ext uri="{FF2B5EF4-FFF2-40B4-BE49-F238E27FC236}">
                    <a16:creationId xmlns:a16="http://schemas.microsoft.com/office/drawing/2014/main" id="{4D557CB5-297D-4A32-9242-60FB985FA213}"/>
                  </a:ext>
                </a:extLst>
              </p:cNvPr>
              <p:cNvSpPr/>
              <p:nvPr/>
            </p:nvSpPr>
            <p:spPr bwMode="auto">
              <a:xfrm>
                <a:off x="-1604863" y="293650"/>
                <a:ext cx="534085" cy="533282"/>
              </a:xfrm>
              <a:custGeom>
                <a:avLst/>
                <a:gdLst>
                  <a:gd name="T0" fmla="*/ 9608 w 10667"/>
                  <a:gd name="T1" fmla="*/ 4056 h 10667"/>
                  <a:gd name="T2" fmla="*/ 9642 w 10667"/>
                  <a:gd name="T3" fmla="*/ 4561 h 10667"/>
                  <a:gd name="T4" fmla="*/ 9398 w 10667"/>
                  <a:gd name="T5" fmla="*/ 5365 h 10667"/>
                  <a:gd name="T6" fmla="*/ 9237 w 10667"/>
                  <a:gd name="T7" fmla="*/ 4433 h 10667"/>
                  <a:gd name="T8" fmla="*/ 8869 w 10667"/>
                  <a:gd name="T9" fmla="*/ 4582 h 10667"/>
                  <a:gd name="T10" fmla="*/ 8709 w 10667"/>
                  <a:gd name="T11" fmla="*/ 5514 h 10667"/>
                  <a:gd name="T12" fmla="*/ 8952 w 10667"/>
                  <a:gd name="T13" fmla="*/ 5395 h 10667"/>
                  <a:gd name="T14" fmla="*/ 8998 w 10667"/>
                  <a:gd name="T15" fmla="*/ 6944 h 10667"/>
                  <a:gd name="T16" fmla="*/ 9239 w 10667"/>
                  <a:gd name="T17" fmla="*/ 5720 h 10667"/>
                  <a:gd name="T18" fmla="*/ 9377 w 10667"/>
                  <a:gd name="T19" fmla="*/ 6807 h 10667"/>
                  <a:gd name="T20" fmla="*/ 9687 w 10667"/>
                  <a:gd name="T21" fmla="*/ 6787 h 10667"/>
                  <a:gd name="T22" fmla="*/ 9559 w 10667"/>
                  <a:gd name="T23" fmla="*/ 4821 h 10667"/>
                  <a:gd name="T24" fmla="*/ 9939 w 10667"/>
                  <a:gd name="T25" fmla="*/ 5391 h 10667"/>
                  <a:gd name="T26" fmla="*/ 6566 w 10667"/>
                  <a:gd name="T27" fmla="*/ 1130 h 10667"/>
                  <a:gd name="T28" fmla="*/ 5448 w 10667"/>
                  <a:gd name="T29" fmla="*/ 2261 h 10667"/>
                  <a:gd name="T30" fmla="*/ 7197 w 10667"/>
                  <a:gd name="T31" fmla="*/ 8282 h 10667"/>
                  <a:gd name="T32" fmla="*/ 6553 w 10667"/>
                  <a:gd name="T33" fmla="*/ 5860 h 10667"/>
                  <a:gd name="T34" fmla="*/ 6867 w 10667"/>
                  <a:gd name="T35" fmla="*/ 5540 h 10667"/>
                  <a:gd name="T36" fmla="*/ 6677 w 10667"/>
                  <a:gd name="T37" fmla="*/ 2794 h 10667"/>
                  <a:gd name="T38" fmla="*/ 5875 w 10667"/>
                  <a:gd name="T39" fmla="*/ 5440 h 10667"/>
                  <a:gd name="T40" fmla="*/ 5344 w 10667"/>
                  <a:gd name="T41" fmla="*/ 2372 h 10667"/>
                  <a:gd name="T42" fmla="*/ 4134 w 10667"/>
                  <a:gd name="T43" fmla="*/ 2863 h 10667"/>
                  <a:gd name="T44" fmla="*/ 3606 w 10667"/>
                  <a:gd name="T45" fmla="*/ 5931 h 10667"/>
                  <a:gd name="T46" fmla="*/ 4406 w 10667"/>
                  <a:gd name="T47" fmla="*/ 5536 h 10667"/>
                  <a:gd name="T48" fmla="*/ 3036 w 10667"/>
                  <a:gd name="T49" fmla="*/ 8836 h 10667"/>
                  <a:gd name="T50" fmla="*/ 1301 w 10667"/>
                  <a:gd name="T51" fmla="*/ 9187 h 10667"/>
                  <a:gd name="T52" fmla="*/ 3942 w 10667"/>
                  <a:gd name="T53" fmla="*/ 10566 h 10667"/>
                  <a:gd name="T54" fmla="*/ 8368 w 10667"/>
                  <a:gd name="T55" fmla="*/ 10227 h 10667"/>
                  <a:gd name="T56" fmla="*/ 5409 w 10667"/>
                  <a:gd name="T57" fmla="*/ 9687 h 10667"/>
                  <a:gd name="T58" fmla="*/ 5462 w 10667"/>
                  <a:gd name="T59" fmla="*/ 6588 h 10667"/>
                  <a:gd name="T60" fmla="*/ 5409 w 10667"/>
                  <a:gd name="T61" fmla="*/ 9687 h 10667"/>
                  <a:gd name="T62" fmla="*/ 9674 w 10667"/>
                  <a:gd name="T63" fmla="*/ 7185 h 10667"/>
                  <a:gd name="T64" fmla="*/ 9255 w 10667"/>
                  <a:gd name="T65" fmla="*/ 7228 h 10667"/>
                  <a:gd name="T66" fmla="*/ 8691 w 10667"/>
                  <a:gd name="T67" fmla="*/ 6602 h 10667"/>
                  <a:gd name="T68" fmla="*/ 10667 w 10667"/>
                  <a:gd name="T69" fmla="*/ 7058 h 10667"/>
                  <a:gd name="T70" fmla="*/ 1068 w 10667"/>
                  <a:gd name="T71" fmla="*/ 4056 h 10667"/>
                  <a:gd name="T72" fmla="*/ 1407 w 10667"/>
                  <a:gd name="T73" fmla="*/ 4399 h 10667"/>
                  <a:gd name="T74" fmla="*/ 1620 w 10667"/>
                  <a:gd name="T75" fmla="*/ 4469 h 10667"/>
                  <a:gd name="T76" fmla="*/ 1410 w 10667"/>
                  <a:gd name="T77" fmla="*/ 5515 h 10667"/>
                  <a:gd name="T78" fmla="*/ 1189 w 10667"/>
                  <a:gd name="T79" fmla="*/ 4467 h 10667"/>
                  <a:gd name="T80" fmla="*/ 728 w 10667"/>
                  <a:gd name="T81" fmla="*/ 5387 h 10667"/>
                  <a:gd name="T82" fmla="*/ 967 w 10667"/>
                  <a:gd name="T83" fmla="*/ 5399 h 10667"/>
                  <a:gd name="T84" fmla="*/ 1088 w 10667"/>
                  <a:gd name="T85" fmla="*/ 5407 h 10667"/>
                  <a:gd name="T86" fmla="*/ 1148 w 10667"/>
                  <a:gd name="T87" fmla="*/ 6944 h 10667"/>
                  <a:gd name="T88" fmla="*/ 1411 w 10667"/>
                  <a:gd name="T89" fmla="*/ 5714 h 10667"/>
                  <a:gd name="T90" fmla="*/ 1671 w 10667"/>
                  <a:gd name="T91" fmla="*/ 6954 h 10667"/>
                  <a:gd name="T92" fmla="*/ 1743 w 10667"/>
                  <a:gd name="T93" fmla="*/ 5493 h 10667"/>
                  <a:gd name="T94" fmla="*/ 1838 w 10667"/>
                  <a:gd name="T95" fmla="*/ 5396 h 10667"/>
                  <a:gd name="T96" fmla="*/ 1780 w 10667"/>
                  <a:gd name="T97" fmla="*/ 4561 h 10667"/>
                  <a:gd name="T98" fmla="*/ 1813 w 10667"/>
                  <a:gd name="T99" fmla="*/ 7185 h 10667"/>
                  <a:gd name="T100" fmla="*/ 1394 w 10667"/>
                  <a:gd name="T101" fmla="*/ 7228 h 10667"/>
                  <a:gd name="T102" fmla="*/ 830 w 10667"/>
                  <a:gd name="T103" fmla="*/ 6602 h 10667"/>
                  <a:gd name="T104" fmla="*/ 2805 w 10667"/>
                  <a:gd name="T105" fmla="*/ 7058 h 10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667" h="10667">
                    <a:moveTo>
                      <a:pt x="8929" y="4056"/>
                    </a:moveTo>
                    <a:cubicBezTo>
                      <a:pt x="8929" y="3866"/>
                      <a:pt x="9081" y="3713"/>
                      <a:pt x="9268" y="3713"/>
                    </a:cubicBezTo>
                    <a:cubicBezTo>
                      <a:pt x="9456" y="3713"/>
                      <a:pt x="9608" y="3866"/>
                      <a:pt x="9608" y="4056"/>
                    </a:cubicBezTo>
                    <a:cubicBezTo>
                      <a:pt x="9608" y="4246"/>
                      <a:pt x="9456" y="4399"/>
                      <a:pt x="9268" y="4399"/>
                    </a:cubicBezTo>
                    <a:cubicBezTo>
                      <a:pt x="9081" y="4399"/>
                      <a:pt x="8929" y="4246"/>
                      <a:pt x="8929" y="4056"/>
                    </a:cubicBezTo>
                    <a:close/>
                    <a:moveTo>
                      <a:pt x="9642" y="4561"/>
                    </a:moveTo>
                    <a:cubicBezTo>
                      <a:pt x="9592" y="4523"/>
                      <a:pt x="9541" y="4489"/>
                      <a:pt x="9482" y="4469"/>
                    </a:cubicBezTo>
                    <a:cubicBezTo>
                      <a:pt x="9427" y="4449"/>
                      <a:pt x="9369" y="4439"/>
                      <a:pt x="9310" y="4434"/>
                    </a:cubicBezTo>
                    <a:lnTo>
                      <a:pt x="9398" y="5365"/>
                    </a:lnTo>
                    <a:lnTo>
                      <a:pt x="9272" y="5515"/>
                    </a:lnTo>
                    <a:lnTo>
                      <a:pt x="9127" y="5365"/>
                    </a:lnTo>
                    <a:lnTo>
                      <a:pt x="9237" y="4433"/>
                    </a:lnTo>
                    <a:cubicBezTo>
                      <a:pt x="9173" y="4435"/>
                      <a:pt x="9110" y="4446"/>
                      <a:pt x="9050" y="4467"/>
                    </a:cubicBezTo>
                    <a:cubicBezTo>
                      <a:pt x="9025" y="4476"/>
                      <a:pt x="9002" y="4487"/>
                      <a:pt x="8979" y="4500"/>
                    </a:cubicBezTo>
                    <a:cubicBezTo>
                      <a:pt x="8940" y="4523"/>
                      <a:pt x="8903" y="4551"/>
                      <a:pt x="8869" y="4582"/>
                    </a:cubicBezTo>
                    <a:cubicBezTo>
                      <a:pt x="8700" y="4734"/>
                      <a:pt x="8609" y="4997"/>
                      <a:pt x="8589" y="5387"/>
                    </a:cubicBezTo>
                    <a:cubicBezTo>
                      <a:pt x="8586" y="5454"/>
                      <a:pt x="8637" y="5511"/>
                      <a:pt x="8703" y="5514"/>
                    </a:cubicBezTo>
                    <a:cubicBezTo>
                      <a:pt x="8705" y="5514"/>
                      <a:pt x="8707" y="5514"/>
                      <a:pt x="8709" y="5514"/>
                    </a:cubicBezTo>
                    <a:cubicBezTo>
                      <a:pt x="8772" y="5514"/>
                      <a:pt x="8825" y="5464"/>
                      <a:pt x="8828" y="5399"/>
                    </a:cubicBezTo>
                    <a:cubicBezTo>
                      <a:pt x="8842" y="5135"/>
                      <a:pt x="8893" y="4938"/>
                      <a:pt x="8978" y="4821"/>
                    </a:cubicBezTo>
                    <a:cubicBezTo>
                      <a:pt x="8972" y="4944"/>
                      <a:pt x="8961" y="5167"/>
                      <a:pt x="8952" y="5395"/>
                    </a:cubicBezTo>
                    <a:cubicBezTo>
                      <a:pt x="8951" y="5399"/>
                      <a:pt x="8950" y="5403"/>
                      <a:pt x="8950" y="5407"/>
                    </a:cubicBezTo>
                    <a:lnTo>
                      <a:pt x="8854" y="6776"/>
                    </a:lnTo>
                    <a:cubicBezTo>
                      <a:pt x="8848" y="6863"/>
                      <a:pt x="8912" y="6938"/>
                      <a:pt x="8998" y="6944"/>
                    </a:cubicBezTo>
                    <a:cubicBezTo>
                      <a:pt x="9002" y="6944"/>
                      <a:pt x="9005" y="6944"/>
                      <a:pt x="9009" y="6944"/>
                    </a:cubicBezTo>
                    <a:cubicBezTo>
                      <a:pt x="9090" y="6944"/>
                      <a:pt x="9158" y="6881"/>
                      <a:pt x="9163" y="6798"/>
                    </a:cubicBezTo>
                    <a:lnTo>
                      <a:pt x="9239" y="5720"/>
                    </a:lnTo>
                    <a:cubicBezTo>
                      <a:pt x="9251" y="5717"/>
                      <a:pt x="9262" y="5714"/>
                      <a:pt x="9273" y="5714"/>
                    </a:cubicBezTo>
                    <a:cubicBezTo>
                      <a:pt x="9284" y="5714"/>
                      <a:pt x="9296" y="5716"/>
                      <a:pt x="9307" y="5717"/>
                    </a:cubicBezTo>
                    <a:lnTo>
                      <a:pt x="9377" y="6807"/>
                    </a:lnTo>
                    <a:cubicBezTo>
                      <a:pt x="9382" y="6890"/>
                      <a:pt x="9451" y="6954"/>
                      <a:pt x="9532" y="6954"/>
                    </a:cubicBezTo>
                    <a:cubicBezTo>
                      <a:pt x="9535" y="6954"/>
                      <a:pt x="9539" y="6954"/>
                      <a:pt x="9542" y="6954"/>
                    </a:cubicBezTo>
                    <a:cubicBezTo>
                      <a:pt x="9628" y="6948"/>
                      <a:pt x="9692" y="6873"/>
                      <a:pt x="9687" y="6787"/>
                    </a:cubicBezTo>
                    <a:lnTo>
                      <a:pt x="9604" y="5493"/>
                    </a:lnTo>
                    <a:cubicBezTo>
                      <a:pt x="9604" y="5486"/>
                      <a:pt x="9602" y="5479"/>
                      <a:pt x="9601" y="5472"/>
                    </a:cubicBezTo>
                    <a:cubicBezTo>
                      <a:pt x="9594" y="5274"/>
                      <a:pt x="9571" y="4981"/>
                      <a:pt x="9559" y="4821"/>
                    </a:cubicBezTo>
                    <a:cubicBezTo>
                      <a:pt x="9645" y="4939"/>
                      <a:pt x="9694" y="5134"/>
                      <a:pt x="9700" y="5396"/>
                    </a:cubicBezTo>
                    <a:cubicBezTo>
                      <a:pt x="9701" y="5462"/>
                      <a:pt x="9754" y="5514"/>
                      <a:pt x="9822" y="5514"/>
                    </a:cubicBezTo>
                    <a:cubicBezTo>
                      <a:pt x="9888" y="5513"/>
                      <a:pt x="9940" y="5458"/>
                      <a:pt x="9939" y="5391"/>
                    </a:cubicBezTo>
                    <a:cubicBezTo>
                      <a:pt x="9931" y="4988"/>
                      <a:pt x="9831" y="4709"/>
                      <a:pt x="9642" y="4561"/>
                    </a:cubicBezTo>
                    <a:close/>
                    <a:moveTo>
                      <a:pt x="5448" y="2261"/>
                    </a:moveTo>
                    <a:cubicBezTo>
                      <a:pt x="6065" y="2261"/>
                      <a:pt x="6566" y="1755"/>
                      <a:pt x="6566" y="1130"/>
                    </a:cubicBezTo>
                    <a:cubicBezTo>
                      <a:pt x="6566" y="506"/>
                      <a:pt x="6065" y="0"/>
                      <a:pt x="5448" y="0"/>
                    </a:cubicBezTo>
                    <a:cubicBezTo>
                      <a:pt x="4832" y="0"/>
                      <a:pt x="4332" y="506"/>
                      <a:pt x="4332" y="1130"/>
                    </a:cubicBezTo>
                    <a:cubicBezTo>
                      <a:pt x="4332" y="1755"/>
                      <a:pt x="4832" y="2261"/>
                      <a:pt x="5448" y="2261"/>
                    </a:cubicBezTo>
                    <a:close/>
                    <a:moveTo>
                      <a:pt x="9566" y="9187"/>
                    </a:moveTo>
                    <a:cubicBezTo>
                      <a:pt x="9566" y="8589"/>
                      <a:pt x="8569" y="8079"/>
                      <a:pt x="7146" y="7846"/>
                    </a:cubicBezTo>
                    <a:lnTo>
                      <a:pt x="7197" y="8282"/>
                    </a:lnTo>
                    <a:cubicBezTo>
                      <a:pt x="7559" y="8431"/>
                      <a:pt x="7781" y="8624"/>
                      <a:pt x="7781" y="8836"/>
                    </a:cubicBezTo>
                    <a:cubicBezTo>
                      <a:pt x="7781" y="9120"/>
                      <a:pt x="7386" y="9369"/>
                      <a:pt x="6788" y="9523"/>
                    </a:cubicBezTo>
                    <a:lnTo>
                      <a:pt x="6553" y="5860"/>
                    </a:lnTo>
                    <a:cubicBezTo>
                      <a:pt x="6552" y="5836"/>
                      <a:pt x="6547" y="5814"/>
                      <a:pt x="6542" y="5791"/>
                    </a:cubicBezTo>
                    <a:cubicBezTo>
                      <a:pt x="6519" y="5139"/>
                      <a:pt x="6446" y="4174"/>
                      <a:pt x="6403" y="3649"/>
                    </a:cubicBezTo>
                    <a:cubicBezTo>
                      <a:pt x="6689" y="4036"/>
                      <a:pt x="6850" y="4677"/>
                      <a:pt x="6867" y="5540"/>
                    </a:cubicBezTo>
                    <a:cubicBezTo>
                      <a:pt x="6872" y="5758"/>
                      <a:pt x="7047" y="5931"/>
                      <a:pt x="7269" y="5931"/>
                    </a:cubicBezTo>
                    <a:cubicBezTo>
                      <a:pt x="7487" y="5926"/>
                      <a:pt x="7660" y="5744"/>
                      <a:pt x="7655" y="5524"/>
                    </a:cubicBezTo>
                    <a:cubicBezTo>
                      <a:pt x="7628" y="4200"/>
                      <a:pt x="7299" y="3281"/>
                      <a:pt x="6677" y="2794"/>
                    </a:cubicBezTo>
                    <a:cubicBezTo>
                      <a:pt x="6515" y="2666"/>
                      <a:pt x="6346" y="2557"/>
                      <a:pt x="6150" y="2489"/>
                    </a:cubicBezTo>
                    <a:cubicBezTo>
                      <a:pt x="5969" y="2425"/>
                      <a:pt x="5778" y="2390"/>
                      <a:pt x="5587" y="2376"/>
                    </a:cubicBezTo>
                    <a:lnTo>
                      <a:pt x="5875" y="5440"/>
                    </a:lnTo>
                    <a:lnTo>
                      <a:pt x="5459" y="5934"/>
                    </a:lnTo>
                    <a:lnTo>
                      <a:pt x="4983" y="5440"/>
                    </a:lnTo>
                    <a:lnTo>
                      <a:pt x="5344" y="2372"/>
                    </a:lnTo>
                    <a:cubicBezTo>
                      <a:pt x="5135" y="2379"/>
                      <a:pt x="4926" y="2413"/>
                      <a:pt x="4729" y="2484"/>
                    </a:cubicBezTo>
                    <a:cubicBezTo>
                      <a:pt x="4648" y="2513"/>
                      <a:pt x="4570" y="2548"/>
                      <a:pt x="4496" y="2592"/>
                    </a:cubicBezTo>
                    <a:cubicBezTo>
                      <a:pt x="4366" y="2669"/>
                      <a:pt x="4247" y="2762"/>
                      <a:pt x="4134" y="2863"/>
                    </a:cubicBezTo>
                    <a:cubicBezTo>
                      <a:pt x="3578" y="3362"/>
                      <a:pt x="3276" y="4228"/>
                      <a:pt x="3213" y="5512"/>
                    </a:cubicBezTo>
                    <a:cubicBezTo>
                      <a:pt x="3202" y="5732"/>
                      <a:pt x="3369" y="5919"/>
                      <a:pt x="3586" y="5930"/>
                    </a:cubicBezTo>
                    <a:cubicBezTo>
                      <a:pt x="3593" y="5931"/>
                      <a:pt x="3600" y="5931"/>
                      <a:pt x="3606" y="5931"/>
                    </a:cubicBezTo>
                    <a:cubicBezTo>
                      <a:pt x="3815" y="5931"/>
                      <a:pt x="3989" y="5765"/>
                      <a:pt x="4000" y="5552"/>
                    </a:cubicBezTo>
                    <a:cubicBezTo>
                      <a:pt x="4043" y="4683"/>
                      <a:pt x="4213" y="4034"/>
                      <a:pt x="4493" y="3649"/>
                    </a:cubicBezTo>
                    <a:cubicBezTo>
                      <a:pt x="4473" y="4053"/>
                      <a:pt x="4437" y="4787"/>
                      <a:pt x="4406" y="5536"/>
                    </a:cubicBezTo>
                    <a:cubicBezTo>
                      <a:pt x="4404" y="5550"/>
                      <a:pt x="4400" y="5563"/>
                      <a:pt x="4399" y="5577"/>
                    </a:cubicBezTo>
                    <a:lnTo>
                      <a:pt x="4121" y="9550"/>
                    </a:lnTo>
                    <a:cubicBezTo>
                      <a:pt x="3469" y="9398"/>
                      <a:pt x="3036" y="9136"/>
                      <a:pt x="3036" y="8836"/>
                    </a:cubicBezTo>
                    <a:cubicBezTo>
                      <a:pt x="3036" y="8606"/>
                      <a:pt x="3298" y="8398"/>
                      <a:pt x="3715" y="8245"/>
                    </a:cubicBezTo>
                    <a:lnTo>
                      <a:pt x="3745" y="7843"/>
                    </a:lnTo>
                    <a:cubicBezTo>
                      <a:pt x="2309" y="8075"/>
                      <a:pt x="1301" y="8586"/>
                      <a:pt x="1301" y="9187"/>
                    </a:cubicBezTo>
                    <a:cubicBezTo>
                      <a:pt x="1301" y="9666"/>
                      <a:pt x="1867" y="9963"/>
                      <a:pt x="2241" y="10125"/>
                    </a:cubicBezTo>
                    <a:cubicBezTo>
                      <a:pt x="2579" y="10272"/>
                      <a:pt x="2936" y="10374"/>
                      <a:pt x="3295" y="10452"/>
                    </a:cubicBezTo>
                    <a:cubicBezTo>
                      <a:pt x="3509" y="10498"/>
                      <a:pt x="3725" y="10536"/>
                      <a:pt x="3942" y="10566"/>
                    </a:cubicBezTo>
                    <a:cubicBezTo>
                      <a:pt x="4438" y="10635"/>
                      <a:pt x="4931" y="10667"/>
                      <a:pt x="5434" y="10667"/>
                    </a:cubicBezTo>
                    <a:cubicBezTo>
                      <a:pt x="5609" y="10667"/>
                      <a:pt x="5784" y="10662"/>
                      <a:pt x="5959" y="10654"/>
                    </a:cubicBezTo>
                    <a:cubicBezTo>
                      <a:pt x="6767" y="10615"/>
                      <a:pt x="7596" y="10506"/>
                      <a:pt x="8368" y="10227"/>
                    </a:cubicBezTo>
                    <a:cubicBezTo>
                      <a:pt x="8794" y="10073"/>
                      <a:pt x="9463" y="9799"/>
                      <a:pt x="9557" y="9286"/>
                    </a:cubicBezTo>
                    <a:cubicBezTo>
                      <a:pt x="9563" y="9253"/>
                      <a:pt x="9566" y="9220"/>
                      <a:pt x="9566" y="9187"/>
                    </a:cubicBezTo>
                    <a:close/>
                    <a:moveTo>
                      <a:pt x="5409" y="9687"/>
                    </a:moveTo>
                    <a:cubicBezTo>
                      <a:pt x="5316" y="9687"/>
                      <a:pt x="5226" y="9685"/>
                      <a:pt x="5136" y="9681"/>
                    </a:cubicBezTo>
                    <a:lnTo>
                      <a:pt x="5351" y="6608"/>
                    </a:lnTo>
                    <a:cubicBezTo>
                      <a:pt x="5390" y="6597"/>
                      <a:pt x="5429" y="6588"/>
                      <a:pt x="5462" y="6588"/>
                    </a:cubicBezTo>
                    <a:cubicBezTo>
                      <a:pt x="5501" y="6588"/>
                      <a:pt x="5539" y="6595"/>
                      <a:pt x="5577" y="6599"/>
                    </a:cubicBezTo>
                    <a:lnTo>
                      <a:pt x="5773" y="9671"/>
                    </a:lnTo>
                    <a:cubicBezTo>
                      <a:pt x="5653" y="9678"/>
                      <a:pt x="5535" y="9687"/>
                      <a:pt x="5409" y="9687"/>
                    </a:cubicBezTo>
                    <a:close/>
                    <a:moveTo>
                      <a:pt x="9863" y="6751"/>
                    </a:moveTo>
                    <a:cubicBezTo>
                      <a:pt x="9985" y="6801"/>
                      <a:pt x="10061" y="6867"/>
                      <a:pt x="10061" y="6939"/>
                    </a:cubicBezTo>
                    <a:cubicBezTo>
                      <a:pt x="10061" y="7043"/>
                      <a:pt x="9905" y="7134"/>
                      <a:pt x="9674" y="7185"/>
                    </a:cubicBezTo>
                    <a:cubicBezTo>
                      <a:pt x="9657" y="7190"/>
                      <a:pt x="9638" y="7195"/>
                      <a:pt x="9619" y="7197"/>
                    </a:cubicBezTo>
                    <a:cubicBezTo>
                      <a:pt x="9614" y="7198"/>
                      <a:pt x="9609" y="7198"/>
                      <a:pt x="9605" y="7198"/>
                    </a:cubicBezTo>
                    <a:cubicBezTo>
                      <a:pt x="9499" y="7217"/>
                      <a:pt x="9382" y="7228"/>
                      <a:pt x="9255" y="7228"/>
                    </a:cubicBezTo>
                    <a:cubicBezTo>
                      <a:pt x="8811" y="7228"/>
                      <a:pt x="8451" y="7098"/>
                      <a:pt x="8451" y="6939"/>
                    </a:cubicBezTo>
                    <a:cubicBezTo>
                      <a:pt x="8451" y="6861"/>
                      <a:pt x="8539" y="6790"/>
                      <a:pt x="8681" y="6739"/>
                    </a:cubicBezTo>
                    <a:lnTo>
                      <a:pt x="8691" y="6602"/>
                    </a:lnTo>
                    <a:cubicBezTo>
                      <a:pt x="8203" y="6681"/>
                      <a:pt x="7861" y="6854"/>
                      <a:pt x="7861" y="7058"/>
                    </a:cubicBezTo>
                    <a:cubicBezTo>
                      <a:pt x="7861" y="7335"/>
                      <a:pt x="8489" y="7560"/>
                      <a:pt x="9264" y="7560"/>
                    </a:cubicBezTo>
                    <a:cubicBezTo>
                      <a:pt x="10039" y="7560"/>
                      <a:pt x="10667" y="7335"/>
                      <a:pt x="10667" y="7058"/>
                    </a:cubicBezTo>
                    <a:cubicBezTo>
                      <a:pt x="10667" y="6855"/>
                      <a:pt x="10328" y="6682"/>
                      <a:pt x="9845" y="6603"/>
                    </a:cubicBezTo>
                    <a:lnTo>
                      <a:pt x="9863" y="6751"/>
                    </a:lnTo>
                    <a:close/>
                    <a:moveTo>
                      <a:pt x="1068" y="4056"/>
                    </a:moveTo>
                    <a:cubicBezTo>
                      <a:pt x="1068" y="3866"/>
                      <a:pt x="1220" y="3713"/>
                      <a:pt x="1407" y="3713"/>
                    </a:cubicBezTo>
                    <a:cubicBezTo>
                      <a:pt x="1594" y="3713"/>
                      <a:pt x="1747" y="3866"/>
                      <a:pt x="1747" y="4056"/>
                    </a:cubicBezTo>
                    <a:cubicBezTo>
                      <a:pt x="1747" y="4246"/>
                      <a:pt x="1594" y="4399"/>
                      <a:pt x="1407" y="4399"/>
                    </a:cubicBezTo>
                    <a:cubicBezTo>
                      <a:pt x="1220" y="4399"/>
                      <a:pt x="1068" y="4246"/>
                      <a:pt x="1068" y="4056"/>
                    </a:cubicBezTo>
                    <a:close/>
                    <a:moveTo>
                      <a:pt x="1780" y="4561"/>
                    </a:moveTo>
                    <a:cubicBezTo>
                      <a:pt x="1731" y="4523"/>
                      <a:pt x="1680" y="4489"/>
                      <a:pt x="1620" y="4469"/>
                    </a:cubicBezTo>
                    <a:cubicBezTo>
                      <a:pt x="1565" y="4449"/>
                      <a:pt x="1507" y="4439"/>
                      <a:pt x="1449" y="4434"/>
                    </a:cubicBezTo>
                    <a:lnTo>
                      <a:pt x="1537" y="5365"/>
                    </a:lnTo>
                    <a:lnTo>
                      <a:pt x="1410" y="5515"/>
                    </a:lnTo>
                    <a:lnTo>
                      <a:pt x="1266" y="5365"/>
                    </a:lnTo>
                    <a:lnTo>
                      <a:pt x="1376" y="4433"/>
                    </a:lnTo>
                    <a:cubicBezTo>
                      <a:pt x="1312" y="4435"/>
                      <a:pt x="1248" y="4446"/>
                      <a:pt x="1189" y="4467"/>
                    </a:cubicBezTo>
                    <a:cubicBezTo>
                      <a:pt x="1164" y="4476"/>
                      <a:pt x="1140" y="4487"/>
                      <a:pt x="1118" y="4500"/>
                    </a:cubicBezTo>
                    <a:cubicBezTo>
                      <a:pt x="1078" y="4523"/>
                      <a:pt x="1042" y="4551"/>
                      <a:pt x="1008" y="4582"/>
                    </a:cubicBezTo>
                    <a:cubicBezTo>
                      <a:pt x="839" y="4734"/>
                      <a:pt x="747" y="4997"/>
                      <a:pt x="728" y="5387"/>
                    </a:cubicBezTo>
                    <a:cubicBezTo>
                      <a:pt x="725" y="5454"/>
                      <a:pt x="775" y="5511"/>
                      <a:pt x="841" y="5514"/>
                    </a:cubicBezTo>
                    <a:cubicBezTo>
                      <a:pt x="843" y="5514"/>
                      <a:pt x="845" y="5514"/>
                      <a:pt x="848" y="5514"/>
                    </a:cubicBezTo>
                    <a:cubicBezTo>
                      <a:pt x="911" y="5514"/>
                      <a:pt x="964" y="5464"/>
                      <a:pt x="967" y="5399"/>
                    </a:cubicBezTo>
                    <a:cubicBezTo>
                      <a:pt x="980" y="5135"/>
                      <a:pt x="1032" y="4938"/>
                      <a:pt x="1117" y="4821"/>
                    </a:cubicBezTo>
                    <a:cubicBezTo>
                      <a:pt x="1111" y="4944"/>
                      <a:pt x="1100" y="5167"/>
                      <a:pt x="1090" y="5395"/>
                    </a:cubicBezTo>
                    <a:cubicBezTo>
                      <a:pt x="1090" y="5399"/>
                      <a:pt x="1089" y="5403"/>
                      <a:pt x="1088" y="5407"/>
                    </a:cubicBezTo>
                    <a:lnTo>
                      <a:pt x="993" y="6776"/>
                    </a:lnTo>
                    <a:cubicBezTo>
                      <a:pt x="987" y="6863"/>
                      <a:pt x="1051" y="6938"/>
                      <a:pt x="1136" y="6944"/>
                    </a:cubicBezTo>
                    <a:cubicBezTo>
                      <a:pt x="1140" y="6944"/>
                      <a:pt x="1144" y="6944"/>
                      <a:pt x="1148" y="6944"/>
                    </a:cubicBezTo>
                    <a:cubicBezTo>
                      <a:pt x="1228" y="6944"/>
                      <a:pt x="1296" y="6881"/>
                      <a:pt x="1302" y="6798"/>
                    </a:cubicBezTo>
                    <a:lnTo>
                      <a:pt x="1378" y="5720"/>
                    </a:lnTo>
                    <a:cubicBezTo>
                      <a:pt x="1389" y="5717"/>
                      <a:pt x="1401" y="5714"/>
                      <a:pt x="1411" y="5714"/>
                    </a:cubicBezTo>
                    <a:cubicBezTo>
                      <a:pt x="1423" y="5714"/>
                      <a:pt x="1435" y="5716"/>
                      <a:pt x="1446" y="5717"/>
                    </a:cubicBezTo>
                    <a:lnTo>
                      <a:pt x="1516" y="6807"/>
                    </a:lnTo>
                    <a:cubicBezTo>
                      <a:pt x="1521" y="6890"/>
                      <a:pt x="1589" y="6954"/>
                      <a:pt x="1671" y="6954"/>
                    </a:cubicBezTo>
                    <a:cubicBezTo>
                      <a:pt x="1674" y="6954"/>
                      <a:pt x="1677" y="6954"/>
                      <a:pt x="1681" y="6954"/>
                    </a:cubicBezTo>
                    <a:cubicBezTo>
                      <a:pt x="1766" y="6948"/>
                      <a:pt x="1831" y="6873"/>
                      <a:pt x="1826" y="6787"/>
                    </a:cubicBezTo>
                    <a:lnTo>
                      <a:pt x="1743" y="5493"/>
                    </a:lnTo>
                    <a:cubicBezTo>
                      <a:pt x="1742" y="5486"/>
                      <a:pt x="1741" y="5479"/>
                      <a:pt x="1739" y="5472"/>
                    </a:cubicBezTo>
                    <a:cubicBezTo>
                      <a:pt x="1732" y="5274"/>
                      <a:pt x="1710" y="4981"/>
                      <a:pt x="1697" y="4821"/>
                    </a:cubicBezTo>
                    <a:cubicBezTo>
                      <a:pt x="1784" y="4939"/>
                      <a:pt x="1833" y="5134"/>
                      <a:pt x="1838" y="5396"/>
                    </a:cubicBezTo>
                    <a:cubicBezTo>
                      <a:pt x="1840" y="5462"/>
                      <a:pt x="1893" y="5514"/>
                      <a:pt x="1960" y="5514"/>
                    </a:cubicBezTo>
                    <a:cubicBezTo>
                      <a:pt x="2027" y="5513"/>
                      <a:pt x="2079" y="5458"/>
                      <a:pt x="2078" y="5391"/>
                    </a:cubicBezTo>
                    <a:cubicBezTo>
                      <a:pt x="2069" y="4988"/>
                      <a:pt x="1969" y="4709"/>
                      <a:pt x="1780" y="4561"/>
                    </a:cubicBezTo>
                    <a:close/>
                    <a:moveTo>
                      <a:pt x="2002" y="6751"/>
                    </a:moveTo>
                    <a:cubicBezTo>
                      <a:pt x="2124" y="6801"/>
                      <a:pt x="2200" y="6867"/>
                      <a:pt x="2200" y="6939"/>
                    </a:cubicBezTo>
                    <a:cubicBezTo>
                      <a:pt x="2200" y="7043"/>
                      <a:pt x="2044" y="7134"/>
                      <a:pt x="1813" y="7185"/>
                    </a:cubicBezTo>
                    <a:cubicBezTo>
                      <a:pt x="1795" y="7190"/>
                      <a:pt x="1777" y="7195"/>
                      <a:pt x="1758" y="7197"/>
                    </a:cubicBezTo>
                    <a:cubicBezTo>
                      <a:pt x="1753" y="7198"/>
                      <a:pt x="1748" y="7198"/>
                      <a:pt x="1743" y="7198"/>
                    </a:cubicBezTo>
                    <a:cubicBezTo>
                      <a:pt x="1637" y="7217"/>
                      <a:pt x="1520" y="7228"/>
                      <a:pt x="1394" y="7228"/>
                    </a:cubicBezTo>
                    <a:cubicBezTo>
                      <a:pt x="950" y="7228"/>
                      <a:pt x="589" y="7098"/>
                      <a:pt x="589" y="6939"/>
                    </a:cubicBezTo>
                    <a:cubicBezTo>
                      <a:pt x="589" y="6861"/>
                      <a:pt x="678" y="6790"/>
                      <a:pt x="820" y="6739"/>
                    </a:cubicBezTo>
                    <a:lnTo>
                      <a:pt x="830" y="6602"/>
                    </a:lnTo>
                    <a:cubicBezTo>
                      <a:pt x="342" y="6681"/>
                      <a:pt x="0" y="6854"/>
                      <a:pt x="0" y="7058"/>
                    </a:cubicBezTo>
                    <a:cubicBezTo>
                      <a:pt x="0" y="7335"/>
                      <a:pt x="628" y="7560"/>
                      <a:pt x="1403" y="7560"/>
                    </a:cubicBezTo>
                    <a:cubicBezTo>
                      <a:pt x="2177" y="7560"/>
                      <a:pt x="2805" y="7335"/>
                      <a:pt x="2805" y="7058"/>
                    </a:cubicBezTo>
                    <a:cubicBezTo>
                      <a:pt x="2805" y="6855"/>
                      <a:pt x="2467" y="6682"/>
                      <a:pt x="1984" y="6603"/>
                    </a:cubicBezTo>
                    <a:lnTo>
                      <a:pt x="2002" y="6751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</a:ln>
            </p:spPr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sp>
          <p:nvSpPr>
            <p:cNvPr id="25" name="矩形 24">
              <a:extLst>
                <a:ext uri="{FF2B5EF4-FFF2-40B4-BE49-F238E27FC236}">
                  <a16:creationId xmlns:a16="http://schemas.microsoft.com/office/drawing/2014/main" id="{ECC8FA32-5E42-4983-9D0B-8C97D4DF2C61}"/>
                </a:ext>
              </a:extLst>
            </p:cNvPr>
            <p:cNvSpPr/>
            <p:nvPr/>
          </p:nvSpPr>
          <p:spPr bwMode="auto">
            <a:xfrm>
              <a:off x="1127330" y="1336669"/>
              <a:ext cx="1849411" cy="379554"/>
            </a:xfrm>
            <a:prstGeom prst="rect">
              <a:avLst/>
            </a:prstGeom>
            <a:noFill/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9pPr>
            </a:lstStyle>
            <a:p>
              <a:pPr algn="ctr" defTabSz="914400"/>
              <a:r>
                <a:rPr lang="zh-CN" altLang="en-US" sz="1600" b="1" kern="0" dirty="0">
                  <a:cs typeface="+mn-ea"/>
                  <a:sym typeface="+mn-lt"/>
                </a:rPr>
                <a:t>技术深度</a:t>
              </a:r>
            </a:p>
          </p:txBody>
        </p:sp>
        <p:sp>
          <p:nvSpPr>
            <p:cNvPr id="23" name="矩形 22">
              <a:extLst>
                <a:ext uri="{FF2B5EF4-FFF2-40B4-BE49-F238E27FC236}">
                  <a16:creationId xmlns:a16="http://schemas.microsoft.com/office/drawing/2014/main" id="{8724BA88-89B1-4E51-8307-CF322D13641D}"/>
                </a:ext>
              </a:extLst>
            </p:cNvPr>
            <p:cNvSpPr/>
            <p:nvPr/>
          </p:nvSpPr>
          <p:spPr bwMode="auto">
            <a:xfrm>
              <a:off x="1127330" y="3623659"/>
              <a:ext cx="1849411" cy="379554"/>
            </a:xfrm>
            <a:prstGeom prst="rect">
              <a:avLst/>
            </a:prstGeom>
            <a:noFill/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9pPr>
            </a:lstStyle>
            <a:p>
              <a:pPr algn="ctr" defTabSz="914400"/>
              <a:r>
                <a:rPr lang="zh-CN" altLang="en-US" sz="1600" b="1" kern="0" dirty="0">
                  <a:cs typeface="+mn-ea"/>
                  <a:sym typeface="+mn-lt"/>
                </a:rPr>
                <a:t>代码优化</a:t>
              </a:r>
            </a:p>
          </p:txBody>
        </p:sp>
      </p:grpSp>
      <p:sp>
        <p:nvSpPr>
          <p:cNvPr id="12" name="文本框 11">
            <a:extLst>
              <a:ext uri="{FF2B5EF4-FFF2-40B4-BE49-F238E27FC236}">
                <a16:creationId xmlns:a16="http://schemas.microsoft.com/office/drawing/2014/main" id="{1084BC0D-7B3C-2F1F-4C1B-05F48D46CDAE}"/>
              </a:ext>
            </a:extLst>
          </p:cNvPr>
          <p:cNvSpPr txBox="1"/>
          <p:nvPr/>
        </p:nvSpPr>
        <p:spPr>
          <a:xfrm>
            <a:off x="1529960" y="1903370"/>
            <a:ext cx="739412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/>
              <a:t>目的：提升定位问题的速度</a:t>
            </a:r>
            <a:br>
              <a:rPr lang="en-US" altLang="zh-CN" sz="2400" dirty="0"/>
            </a:br>
            <a:r>
              <a:rPr lang="zh-CN" altLang="en-US" sz="2400" dirty="0"/>
              <a:t>方法：多了解框架的原理 ，同时提升业务理解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0B400742-37D5-C6EF-6DFF-AB93E3A6E13E}"/>
              </a:ext>
            </a:extLst>
          </p:cNvPr>
          <p:cNvSpPr txBox="1"/>
          <p:nvPr/>
        </p:nvSpPr>
        <p:spPr>
          <a:xfrm>
            <a:off x="1817225" y="4386805"/>
            <a:ext cx="695638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/>
              <a:t>目的：写出的代码可读性更高</a:t>
            </a:r>
            <a:endParaRPr lang="en-US" altLang="zh-CN" sz="2400" dirty="0"/>
          </a:p>
          <a:p>
            <a:r>
              <a:rPr lang="zh-CN" altLang="en-US" sz="2400" dirty="0"/>
              <a:t>方法：多学习设计模式，多打有意义的注释</a:t>
            </a:r>
          </a:p>
        </p:txBody>
      </p:sp>
    </p:spTree>
    <p:extLst>
      <p:ext uri="{BB962C8B-B14F-4D97-AF65-F5344CB8AC3E}">
        <p14:creationId xmlns:p14="http://schemas.microsoft.com/office/powerpoint/2010/main" val="37541237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218115" y="2528209"/>
            <a:ext cx="4791016" cy="895350"/>
          </a:xfrm>
        </p:spPr>
        <p:txBody>
          <a:bodyPr/>
          <a:lstStyle/>
          <a:p>
            <a:r>
              <a:rPr lang="zh-CN" altLang="en-US">
                <a:latin typeface="+mn-lt"/>
                <a:ea typeface="+mn-ea"/>
                <a:cs typeface="+mn-ea"/>
                <a:sym typeface="+mn-lt"/>
              </a:rPr>
              <a:t>未来规划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218115" y="3423559"/>
            <a:ext cx="4791016" cy="1015623"/>
          </a:xfrm>
        </p:spPr>
        <p:txBody>
          <a:bodyPr/>
          <a:lstStyle/>
          <a:p>
            <a:pPr lvl="0"/>
            <a:r>
              <a:rPr lang="zh-CN" altLang="en-US" dirty="0">
                <a:cs typeface="+mn-ea"/>
                <a:sym typeface="+mn-lt"/>
              </a:rPr>
              <a:t>怎么去提升能力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74177" y="308270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/05</a:t>
            </a:r>
            <a:endParaRPr lang="zh-CN" altLang="en-US" spc="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206947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4539B5D-72E3-49E3-A37F-29BB21384F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未来规划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--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提高技术深度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7D1E7E2-8EAF-40BB-AFF9-F368DF2E5C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6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F7B8381-93F0-4776-A939-539CDCEC3455}"/>
              </a:ext>
            </a:extLst>
          </p:cNvPr>
          <p:cNvGrpSpPr>
            <a:grpSpLocks noChangeAspect="1"/>
          </p:cNvGrpSpPr>
          <p:nvPr/>
        </p:nvGrpSpPr>
        <p:grpSpPr>
          <a:xfrm>
            <a:off x="1889599" y="1254443"/>
            <a:ext cx="8420062" cy="5603557"/>
            <a:chOff x="1889598" y="1254441"/>
            <a:chExt cx="8420063" cy="5603558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FA4F13B7-4D8E-4FD9-9255-189AD8109098}"/>
                </a:ext>
              </a:extLst>
            </p:cNvPr>
            <p:cNvGrpSpPr/>
            <p:nvPr/>
          </p:nvGrpSpPr>
          <p:grpSpPr>
            <a:xfrm>
              <a:off x="1889598" y="1428916"/>
              <a:ext cx="6526307" cy="5429083"/>
              <a:chOff x="3825081" y="2368549"/>
              <a:chExt cx="4541837" cy="3778251"/>
            </a:xfrm>
          </p:grpSpPr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87987424-7AFD-497A-8D5A-0ADF39E99ED8}"/>
                  </a:ext>
                </a:extLst>
              </p:cNvPr>
              <p:cNvSpPr/>
              <p:nvPr/>
            </p:nvSpPr>
            <p:spPr bwMode="auto">
              <a:xfrm>
                <a:off x="5587206" y="2836862"/>
                <a:ext cx="1609725" cy="801688"/>
              </a:xfrm>
              <a:custGeom>
                <a:avLst/>
                <a:gdLst>
                  <a:gd name="T0" fmla="*/ 1 w 1014"/>
                  <a:gd name="T1" fmla="*/ 0 h 505"/>
                  <a:gd name="T2" fmla="*/ 3 w 1014"/>
                  <a:gd name="T3" fmla="*/ 14 h 505"/>
                  <a:gd name="T4" fmla="*/ 11 w 1014"/>
                  <a:gd name="T5" fmla="*/ 27 h 505"/>
                  <a:gd name="T6" fmla="*/ 22 w 1014"/>
                  <a:gd name="T7" fmla="*/ 38 h 505"/>
                  <a:gd name="T8" fmla="*/ 33 w 1014"/>
                  <a:gd name="T9" fmla="*/ 47 h 505"/>
                  <a:gd name="T10" fmla="*/ 64 w 1014"/>
                  <a:gd name="T11" fmla="*/ 66 h 505"/>
                  <a:gd name="T12" fmla="*/ 97 w 1014"/>
                  <a:gd name="T13" fmla="*/ 80 h 505"/>
                  <a:gd name="T14" fmla="*/ 133 w 1014"/>
                  <a:gd name="T15" fmla="*/ 93 h 505"/>
                  <a:gd name="T16" fmla="*/ 207 w 1014"/>
                  <a:gd name="T17" fmla="*/ 114 h 505"/>
                  <a:gd name="T18" fmla="*/ 244 w 1014"/>
                  <a:gd name="T19" fmla="*/ 122 h 505"/>
                  <a:gd name="T20" fmla="*/ 324 w 1014"/>
                  <a:gd name="T21" fmla="*/ 137 h 505"/>
                  <a:gd name="T22" fmla="*/ 404 w 1014"/>
                  <a:gd name="T23" fmla="*/ 151 h 505"/>
                  <a:gd name="T24" fmla="*/ 563 w 1014"/>
                  <a:gd name="T25" fmla="*/ 187 h 505"/>
                  <a:gd name="T26" fmla="*/ 600 w 1014"/>
                  <a:gd name="T27" fmla="*/ 197 h 505"/>
                  <a:gd name="T28" fmla="*/ 675 w 1014"/>
                  <a:gd name="T29" fmla="*/ 219 h 505"/>
                  <a:gd name="T30" fmla="*/ 750 w 1014"/>
                  <a:gd name="T31" fmla="*/ 244 h 505"/>
                  <a:gd name="T32" fmla="*/ 821 w 1014"/>
                  <a:gd name="T33" fmla="*/ 275 h 505"/>
                  <a:gd name="T34" fmla="*/ 856 w 1014"/>
                  <a:gd name="T35" fmla="*/ 291 h 505"/>
                  <a:gd name="T36" fmla="*/ 904 w 1014"/>
                  <a:gd name="T37" fmla="*/ 319 h 505"/>
                  <a:gd name="T38" fmla="*/ 933 w 1014"/>
                  <a:gd name="T39" fmla="*/ 339 h 505"/>
                  <a:gd name="T40" fmla="*/ 961 w 1014"/>
                  <a:gd name="T41" fmla="*/ 364 h 505"/>
                  <a:gd name="T42" fmla="*/ 973 w 1014"/>
                  <a:gd name="T43" fmla="*/ 377 h 505"/>
                  <a:gd name="T44" fmla="*/ 988 w 1014"/>
                  <a:gd name="T45" fmla="*/ 395 h 505"/>
                  <a:gd name="T46" fmla="*/ 999 w 1014"/>
                  <a:gd name="T47" fmla="*/ 414 h 505"/>
                  <a:gd name="T48" fmla="*/ 1006 w 1014"/>
                  <a:gd name="T49" fmla="*/ 432 h 505"/>
                  <a:gd name="T50" fmla="*/ 1013 w 1014"/>
                  <a:gd name="T51" fmla="*/ 465 h 505"/>
                  <a:gd name="T52" fmla="*/ 1014 w 1014"/>
                  <a:gd name="T53" fmla="*/ 505 h 505"/>
                  <a:gd name="T54" fmla="*/ 1013 w 1014"/>
                  <a:gd name="T55" fmla="*/ 490 h 505"/>
                  <a:gd name="T56" fmla="*/ 1009 w 1014"/>
                  <a:gd name="T57" fmla="*/ 474 h 505"/>
                  <a:gd name="T58" fmla="*/ 1002 w 1014"/>
                  <a:gd name="T59" fmla="*/ 448 h 505"/>
                  <a:gd name="T60" fmla="*/ 991 w 1014"/>
                  <a:gd name="T61" fmla="*/ 427 h 505"/>
                  <a:gd name="T62" fmla="*/ 972 w 1014"/>
                  <a:gd name="T63" fmla="*/ 403 h 505"/>
                  <a:gd name="T64" fmla="*/ 958 w 1014"/>
                  <a:gd name="T65" fmla="*/ 390 h 505"/>
                  <a:gd name="T66" fmla="*/ 930 w 1014"/>
                  <a:gd name="T67" fmla="*/ 366 h 505"/>
                  <a:gd name="T68" fmla="*/ 900 w 1014"/>
                  <a:gd name="T69" fmla="*/ 346 h 505"/>
                  <a:gd name="T70" fmla="*/ 838 w 1014"/>
                  <a:gd name="T71" fmla="*/ 311 h 505"/>
                  <a:gd name="T72" fmla="*/ 803 w 1014"/>
                  <a:gd name="T73" fmla="*/ 294 h 505"/>
                  <a:gd name="T74" fmla="*/ 730 w 1014"/>
                  <a:gd name="T75" fmla="*/ 266 h 505"/>
                  <a:gd name="T76" fmla="*/ 656 w 1014"/>
                  <a:gd name="T77" fmla="*/ 242 h 505"/>
                  <a:gd name="T78" fmla="*/ 544 w 1014"/>
                  <a:gd name="T79" fmla="*/ 211 h 505"/>
                  <a:gd name="T80" fmla="*/ 465 w 1014"/>
                  <a:gd name="T81" fmla="*/ 193 h 505"/>
                  <a:gd name="T82" fmla="*/ 386 w 1014"/>
                  <a:gd name="T83" fmla="*/ 177 h 505"/>
                  <a:gd name="T84" fmla="*/ 267 w 1014"/>
                  <a:gd name="T85" fmla="*/ 156 h 505"/>
                  <a:gd name="T86" fmla="*/ 228 w 1014"/>
                  <a:gd name="T87" fmla="*/ 147 h 505"/>
                  <a:gd name="T88" fmla="*/ 157 w 1014"/>
                  <a:gd name="T89" fmla="*/ 129 h 505"/>
                  <a:gd name="T90" fmla="*/ 89 w 1014"/>
                  <a:gd name="T91" fmla="*/ 105 h 505"/>
                  <a:gd name="T92" fmla="*/ 74 w 1014"/>
                  <a:gd name="T93" fmla="*/ 99 h 505"/>
                  <a:gd name="T94" fmla="*/ 44 w 1014"/>
                  <a:gd name="T95" fmla="*/ 83 h 505"/>
                  <a:gd name="T96" fmla="*/ 31 w 1014"/>
                  <a:gd name="T97" fmla="*/ 73 h 505"/>
                  <a:gd name="T98" fmla="*/ 12 w 1014"/>
                  <a:gd name="T99" fmla="*/ 56 h 505"/>
                  <a:gd name="T100" fmla="*/ 3 w 1014"/>
                  <a:gd name="T101" fmla="*/ 43 h 505"/>
                  <a:gd name="T102" fmla="*/ 1 w 1014"/>
                  <a:gd name="T103" fmla="*/ 33 h 505"/>
                  <a:gd name="T104" fmla="*/ 1 w 1014"/>
                  <a:gd name="T105" fmla="*/ 0 h 5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14" h="505">
                    <a:moveTo>
                      <a:pt x="1" y="0"/>
                    </a:moveTo>
                    <a:lnTo>
                      <a:pt x="1" y="0"/>
                    </a:lnTo>
                    <a:lnTo>
                      <a:pt x="1" y="6"/>
                    </a:lnTo>
                    <a:lnTo>
                      <a:pt x="3" y="14"/>
                    </a:lnTo>
                    <a:lnTo>
                      <a:pt x="7" y="21"/>
                    </a:lnTo>
                    <a:lnTo>
                      <a:pt x="11" y="27"/>
                    </a:lnTo>
                    <a:lnTo>
                      <a:pt x="17" y="33"/>
                    </a:lnTo>
                    <a:lnTo>
                      <a:pt x="22" y="38"/>
                    </a:lnTo>
                    <a:lnTo>
                      <a:pt x="33" y="47"/>
                    </a:lnTo>
                    <a:lnTo>
                      <a:pt x="33" y="47"/>
                    </a:lnTo>
                    <a:lnTo>
                      <a:pt x="49" y="57"/>
                    </a:lnTo>
                    <a:lnTo>
                      <a:pt x="64" y="66"/>
                    </a:lnTo>
                    <a:lnTo>
                      <a:pt x="80" y="73"/>
                    </a:lnTo>
                    <a:lnTo>
                      <a:pt x="97" y="80"/>
                    </a:lnTo>
                    <a:lnTo>
                      <a:pt x="97" y="80"/>
                    </a:lnTo>
                    <a:lnTo>
                      <a:pt x="133" y="93"/>
                    </a:lnTo>
                    <a:lnTo>
                      <a:pt x="169" y="104"/>
                    </a:lnTo>
                    <a:lnTo>
                      <a:pt x="207" y="114"/>
                    </a:lnTo>
                    <a:lnTo>
                      <a:pt x="244" y="122"/>
                    </a:lnTo>
                    <a:lnTo>
                      <a:pt x="244" y="122"/>
                    </a:lnTo>
                    <a:lnTo>
                      <a:pt x="284" y="129"/>
                    </a:lnTo>
                    <a:lnTo>
                      <a:pt x="324" y="137"/>
                    </a:lnTo>
                    <a:lnTo>
                      <a:pt x="404" y="151"/>
                    </a:lnTo>
                    <a:lnTo>
                      <a:pt x="404" y="151"/>
                    </a:lnTo>
                    <a:lnTo>
                      <a:pt x="484" y="168"/>
                    </a:lnTo>
                    <a:lnTo>
                      <a:pt x="563" y="187"/>
                    </a:lnTo>
                    <a:lnTo>
                      <a:pt x="563" y="187"/>
                    </a:lnTo>
                    <a:lnTo>
                      <a:pt x="600" y="197"/>
                    </a:lnTo>
                    <a:lnTo>
                      <a:pt x="638" y="208"/>
                    </a:lnTo>
                    <a:lnTo>
                      <a:pt x="675" y="219"/>
                    </a:lnTo>
                    <a:lnTo>
                      <a:pt x="712" y="231"/>
                    </a:lnTo>
                    <a:lnTo>
                      <a:pt x="750" y="244"/>
                    </a:lnTo>
                    <a:lnTo>
                      <a:pt x="786" y="258"/>
                    </a:lnTo>
                    <a:lnTo>
                      <a:pt x="821" y="275"/>
                    </a:lnTo>
                    <a:lnTo>
                      <a:pt x="856" y="291"/>
                    </a:lnTo>
                    <a:lnTo>
                      <a:pt x="856" y="291"/>
                    </a:lnTo>
                    <a:lnTo>
                      <a:pt x="888" y="309"/>
                    </a:lnTo>
                    <a:lnTo>
                      <a:pt x="904" y="319"/>
                    </a:lnTo>
                    <a:lnTo>
                      <a:pt x="919" y="328"/>
                    </a:lnTo>
                    <a:lnTo>
                      <a:pt x="933" y="339"/>
                    </a:lnTo>
                    <a:lnTo>
                      <a:pt x="948" y="352"/>
                    </a:lnTo>
                    <a:lnTo>
                      <a:pt x="961" y="364"/>
                    </a:lnTo>
                    <a:lnTo>
                      <a:pt x="973" y="377"/>
                    </a:lnTo>
                    <a:lnTo>
                      <a:pt x="973" y="377"/>
                    </a:lnTo>
                    <a:lnTo>
                      <a:pt x="982" y="387"/>
                    </a:lnTo>
                    <a:lnTo>
                      <a:pt x="988" y="395"/>
                    </a:lnTo>
                    <a:lnTo>
                      <a:pt x="994" y="405"/>
                    </a:lnTo>
                    <a:lnTo>
                      <a:pt x="999" y="414"/>
                    </a:lnTo>
                    <a:lnTo>
                      <a:pt x="1003" y="423"/>
                    </a:lnTo>
                    <a:lnTo>
                      <a:pt x="1006" y="432"/>
                    </a:lnTo>
                    <a:lnTo>
                      <a:pt x="1010" y="449"/>
                    </a:lnTo>
                    <a:lnTo>
                      <a:pt x="1013" y="465"/>
                    </a:lnTo>
                    <a:lnTo>
                      <a:pt x="1014" y="479"/>
                    </a:lnTo>
                    <a:lnTo>
                      <a:pt x="1014" y="505"/>
                    </a:lnTo>
                    <a:lnTo>
                      <a:pt x="1014" y="505"/>
                    </a:lnTo>
                    <a:lnTo>
                      <a:pt x="1013" y="490"/>
                    </a:lnTo>
                    <a:lnTo>
                      <a:pt x="1009" y="474"/>
                    </a:lnTo>
                    <a:lnTo>
                      <a:pt x="1009" y="474"/>
                    </a:lnTo>
                    <a:lnTo>
                      <a:pt x="1005" y="457"/>
                    </a:lnTo>
                    <a:lnTo>
                      <a:pt x="1002" y="448"/>
                    </a:lnTo>
                    <a:lnTo>
                      <a:pt x="996" y="438"/>
                    </a:lnTo>
                    <a:lnTo>
                      <a:pt x="991" y="427"/>
                    </a:lnTo>
                    <a:lnTo>
                      <a:pt x="982" y="415"/>
                    </a:lnTo>
                    <a:lnTo>
                      <a:pt x="972" y="403"/>
                    </a:lnTo>
                    <a:lnTo>
                      <a:pt x="958" y="390"/>
                    </a:lnTo>
                    <a:lnTo>
                      <a:pt x="958" y="390"/>
                    </a:lnTo>
                    <a:lnTo>
                      <a:pt x="944" y="378"/>
                    </a:lnTo>
                    <a:lnTo>
                      <a:pt x="930" y="366"/>
                    </a:lnTo>
                    <a:lnTo>
                      <a:pt x="916" y="356"/>
                    </a:lnTo>
                    <a:lnTo>
                      <a:pt x="900" y="346"/>
                    </a:lnTo>
                    <a:lnTo>
                      <a:pt x="870" y="327"/>
                    </a:lnTo>
                    <a:lnTo>
                      <a:pt x="838" y="311"/>
                    </a:lnTo>
                    <a:lnTo>
                      <a:pt x="838" y="311"/>
                    </a:lnTo>
                    <a:lnTo>
                      <a:pt x="803" y="294"/>
                    </a:lnTo>
                    <a:lnTo>
                      <a:pt x="766" y="279"/>
                    </a:lnTo>
                    <a:lnTo>
                      <a:pt x="730" y="266"/>
                    </a:lnTo>
                    <a:lnTo>
                      <a:pt x="694" y="253"/>
                    </a:lnTo>
                    <a:lnTo>
                      <a:pt x="656" y="242"/>
                    </a:lnTo>
                    <a:lnTo>
                      <a:pt x="619" y="231"/>
                    </a:lnTo>
                    <a:lnTo>
                      <a:pt x="544" y="211"/>
                    </a:lnTo>
                    <a:lnTo>
                      <a:pt x="544" y="211"/>
                    </a:lnTo>
                    <a:lnTo>
                      <a:pt x="465" y="193"/>
                    </a:lnTo>
                    <a:lnTo>
                      <a:pt x="386" y="177"/>
                    </a:lnTo>
                    <a:lnTo>
                      <a:pt x="386" y="177"/>
                    </a:lnTo>
                    <a:lnTo>
                      <a:pt x="307" y="162"/>
                    </a:lnTo>
                    <a:lnTo>
                      <a:pt x="267" y="156"/>
                    </a:lnTo>
                    <a:lnTo>
                      <a:pt x="228" y="147"/>
                    </a:lnTo>
                    <a:lnTo>
                      <a:pt x="228" y="147"/>
                    </a:lnTo>
                    <a:lnTo>
                      <a:pt x="193" y="138"/>
                    </a:lnTo>
                    <a:lnTo>
                      <a:pt x="157" y="129"/>
                    </a:lnTo>
                    <a:lnTo>
                      <a:pt x="122" y="118"/>
                    </a:lnTo>
                    <a:lnTo>
                      <a:pt x="89" y="105"/>
                    </a:lnTo>
                    <a:lnTo>
                      <a:pt x="89" y="105"/>
                    </a:lnTo>
                    <a:lnTo>
                      <a:pt x="74" y="99"/>
                    </a:lnTo>
                    <a:lnTo>
                      <a:pt x="58" y="92"/>
                    </a:lnTo>
                    <a:lnTo>
                      <a:pt x="44" y="83"/>
                    </a:lnTo>
                    <a:lnTo>
                      <a:pt x="31" y="73"/>
                    </a:lnTo>
                    <a:lnTo>
                      <a:pt x="31" y="73"/>
                    </a:lnTo>
                    <a:lnTo>
                      <a:pt x="19" y="65"/>
                    </a:lnTo>
                    <a:lnTo>
                      <a:pt x="12" y="56"/>
                    </a:lnTo>
                    <a:lnTo>
                      <a:pt x="7" y="49"/>
                    </a:lnTo>
                    <a:lnTo>
                      <a:pt x="3" y="43"/>
                    </a:lnTo>
                    <a:lnTo>
                      <a:pt x="3" y="43"/>
                    </a:lnTo>
                    <a:lnTo>
                      <a:pt x="1" y="33"/>
                    </a:lnTo>
                    <a:lnTo>
                      <a:pt x="0" y="23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AA2A9E7E-1EE7-42C9-8738-99F6753EDB97}"/>
                  </a:ext>
                </a:extLst>
              </p:cNvPr>
              <p:cNvSpPr/>
              <p:nvPr/>
            </p:nvSpPr>
            <p:spPr bwMode="auto">
              <a:xfrm>
                <a:off x="6036468" y="2395537"/>
                <a:ext cx="371475" cy="111125"/>
              </a:xfrm>
              <a:custGeom>
                <a:avLst/>
                <a:gdLst>
                  <a:gd name="T0" fmla="*/ 152 w 234"/>
                  <a:gd name="T1" fmla="*/ 14 h 70"/>
                  <a:gd name="T2" fmla="*/ 152 w 234"/>
                  <a:gd name="T3" fmla="*/ 14 h 70"/>
                  <a:gd name="T4" fmla="*/ 190 w 234"/>
                  <a:gd name="T5" fmla="*/ 11 h 70"/>
                  <a:gd name="T6" fmla="*/ 215 w 234"/>
                  <a:gd name="T7" fmla="*/ 8 h 70"/>
                  <a:gd name="T8" fmla="*/ 224 w 234"/>
                  <a:gd name="T9" fmla="*/ 6 h 70"/>
                  <a:gd name="T10" fmla="*/ 229 w 234"/>
                  <a:gd name="T11" fmla="*/ 5 h 70"/>
                  <a:gd name="T12" fmla="*/ 233 w 234"/>
                  <a:gd name="T13" fmla="*/ 3 h 70"/>
                  <a:gd name="T14" fmla="*/ 234 w 234"/>
                  <a:gd name="T15" fmla="*/ 0 h 70"/>
                  <a:gd name="T16" fmla="*/ 234 w 234"/>
                  <a:gd name="T17" fmla="*/ 28 h 70"/>
                  <a:gd name="T18" fmla="*/ 234 w 234"/>
                  <a:gd name="T19" fmla="*/ 28 h 70"/>
                  <a:gd name="T20" fmla="*/ 233 w 234"/>
                  <a:gd name="T21" fmla="*/ 32 h 70"/>
                  <a:gd name="T22" fmla="*/ 229 w 234"/>
                  <a:gd name="T23" fmla="*/ 34 h 70"/>
                  <a:gd name="T24" fmla="*/ 224 w 234"/>
                  <a:gd name="T25" fmla="*/ 35 h 70"/>
                  <a:gd name="T26" fmla="*/ 215 w 234"/>
                  <a:gd name="T27" fmla="*/ 37 h 70"/>
                  <a:gd name="T28" fmla="*/ 190 w 234"/>
                  <a:gd name="T29" fmla="*/ 40 h 70"/>
                  <a:gd name="T30" fmla="*/ 152 w 234"/>
                  <a:gd name="T31" fmla="*/ 43 h 70"/>
                  <a:gd name="T32" fmla="*/ 152 w 234"/>
                  <a:gd name="T33" fmla="*/ 43 h 70"/>
                  <a:gd name="T34" fmla="*/ 105 w 234"/>
                  <a:gd name="T35" fmla="*/ 47 h 70"/>
                  <a:gd name="T36" fmla="*/ 56 w 234"/>
                  <a:gd name="T37" fmla="*/ 54 h 70"/>
                  <a:gd name="T38" fmla="*/ 34 w 234"/>
                  <a:gd name="T39" fmla="*/ 57 h 70"/>
                  <a:gd name="T40" fmla="*/ 16 w 234"/>
                  <a:gd name="T41" fmla="*/ 61 h 70"/>
                  <a:gd name="T42" fmla="*/ 4 w 234"/>
                  <a:gd name="T43" fmla="*/ 66 h 70"/>
                  <a:gd name="T44" fmla="*/ 1 w 234"/>
                  <a:gd name="T45" fmla="*/ 68 h 70"/>
                  <a:gd name="T46" fmla="*/ 0 w 234"/>
                  <a:gd name="T47" fmla="*/ 70 h 70"/>
                  <a:gd name="T48" fmla="*/ 0 w 234"/>
                  <a:gd name="T49" fmla="*/ 41 h 70"/>
                  <a:gd name="T50" fmla="*/ 0 w 234"/>
                  <a:gd name="T51" fmla="*/ 41 h 70"/>
                  <a:gd name="T52" fmla="*/ 1 w 234"/>
                  <a:gd name="T53" fmla="*/ 39 h 70"/>
                  <a:gd name="T54" fmla="*/ 4 w 234"/>
                  <a:gd name="T55" fmla="*/ 37 h 70"/>
                  <a:gd name="T56" fmla="*/ 16 w 234"/>
                  <a:gd name="T57" fmla="*/ 33 h 70"/>
                  <a:gd name="T58" fmla="*/ 34 w 234"/>
                  <a:gd name="T59" fmla="*/ 28 h 70"/>
                  <a:gd name="T60" fmla="*/ 56 w 234"/>
                  <a:gd name="T61" fmla="*/ 25 h 70"/>
                  <a:gd name="T62" fmla="*/ 105 w 234"/>
                  <a:gd name="T63" fmla="*/ 18 h 70"/>
                  <a:gd name="T64" fmla="*/ 152 w 234"/>
                  <a:gd name="T65" fmla="*/ 14 h 70"/>
                  <a:gd name="T66" fmla="*/ 152 w 234"/>
                  <a:gd name="T67" fmla="*/ 14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34" h="70">
                    <a:moveTo>
                      <a:pt x="152" y="14"/>
                    </a:moveTo>
                    <a:lnTo>
                      <a:pt x="152" y="14"/>
                    </a:lnTo>
                    <a:lnTo>
                      <a:pt x="190" y="11"/>
                    </a:lnTo>
                    <a:lnTo>
                      <a:pt x="215" y="8"/>
                    </a:lnTo>
                    <a:lnTo>
                      <a:pt x="224" y="6"/>
                    </a:lnTo>
                    <a:lnTo>
                      <a:pt x="229" y="5"/>
                    </a:lnTo>
                    <a:lnTo>
                      <a:pt x="233" y="3"/>
                    </a:lnTo>
                    <a:lnTo>
                      <a:pt x="234" y="0"/>
                    </a:lnTo>
                    <a:lnTo>
                      <a:pt x="234" y="28"/>
                    </a:lnTo>
                    <a:lnTo>
                      <a:pt x="234" y="28"/>
                    </a:lnTo>
                    <a:lnTo>
                      <a:pt x="233" y="32"/>
                    </a:lnTo>
                    <a:lnTo>
                      <a:pt x="229" y="34"/>
                    </a:lnTo>
                    <a:lnTo>
                      <a:pt x="224" y="35"/>
                    </a:lnTo>
                    <a:lnTo>
                      <a:pt x="215" y="37"/>
                    </a:lnTo>
                    <a:lnTo>
                      <a:pt x="190" y="40"/>
                    </a:lnTo>
                    <a:lnTo>
                      <a:pt x="152" y="43"/>
                    </a:lnTo>
                    <a:lnTo>
                      <a:pt x="152" y="43"/>
                    </a:lnTo>
                    <a:lnTo>
                      <a:pt x="105" y="47"/>
                    </a:lnTo>
                    <a:lnTo>
                      <a:pt x="56" y="54"/>
                    </a:lnTo>
                    <a:lnTo>
                      <a:pt x="34" y="57"/>
                    </a:lnTo>
                    <a:lnTo>
                      <a:pt x="16" y="61"/>
                    </a:lnTo>
                    <a:lnTo>
                      <a:pt x="4" y="66"/>
                    </a:lnTo>
                    <a:lnTo>
                      <a:pt x="1" y="68"/>
                    </a:lnTo>
                    <a:lnTo>
                      <a:pt x="0" y="70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1" y="39"/>
                    </a:lnTo>
                    <a:lnTo>
                      <a:pt x="4" y="37"/>
                    </a:lnTo>
                    <a:lnTo>
                      <a:pt x="16" y="33"/>
                    </a:lnTo>
                    <a:lnTo>
                      <a:pt x="34" y="28"/>
                    </a:lnTo>
                    <a:lnTo>
                      <a:pt x="56" y="25"/>
                    </a:lnTo>
                    <a:lnTo>
                      <a:pt x="105" y="18"/>
                    </a:lnTo>
                    <a:lnTo>
                      <a:pt x="152" y="14"/>
                    </a:lnTo>
                    <a:lnTo>
                      <a:pt x="152" y="1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41ADD550-243E-45E3-932B-2BB0C6D53152}"/>
                  </a:ext>
                </a:extLst>
              </p:cNvPr>
              <p:cNvSpPr/>
              <p:nvPr/>
            </p:nvSpPr>
            <p:spPr bwMode="auto">
              <a:xfrm>
                <a:off x="5787231" y="2460624"/>
                <a:ext cx="669925" cy="136525"/>
              </a:xfrm>
              <a:custGeom>
                <a:avLst/>
                <a:gdLst>
                  <a:gd name="T0" fmla="*/ 13 w 422"/>
                  <a:gd name="T1" fmla="*/ 9 h 86"/>
                  <a:gd name="T2" fmla="*/ 13 w 422"/>
                  <a:gd name="T3" fmla="*/ 9 h 86"/>
                  <a:gd name="T4" fmla="*/ 23 w 422"/>
                  <a:gd name="T5" fmla="*/ 13 h 86"/>
                  <a:gd name="T6" fmla="*/ 39 w 422"/>
                  <a:gd name="T7" fmla="*/ 15 h 86"/>
                  <a:gd name="T8" fmla="*/ 85 w 422"/>
                  <a:gd name="T9" fmla="*/ 19 h 86"/>
                  <a:gd name="T10" fmla="*/ 145 w 422"/>
                  <a:gd name="T11" fmla="*/ 25 h 86"/>
                  <a:gd name="T12" fmla="*/ 209 w 422"/>
                  <a:gd name="T13" fmla="*/ 29 h 86"/>
                  <a:gd name="T14" fmla="*/ 275 w 422"/>
                  <a:gd name="T15" fmla="*/ 35 h 86"/>
                  <a:gd name="T16" fmla="*/ 335 w 422"/>
                  <a:gd name="T17" fmla="*/ 39 h 86"/>
                  <a:gd name="T18" fmla="*/ 383 w 422"/>
                  <a:gd name="T19" fmla="*/ 44 h 86"/>
                  <a:gd name="T20" fmla="*/ 401 w 422"/>
                  <a:gd name="T21" fmla="*/ 48 h 86"/>
                  <a:gd name="T22" fmla="*/ 414 w 422"/>
                  <a:gd name="T23" fmla="*/ 51 h 86"/>
                  <a:gd name="T24" fmla="*/ 414 w 422"/>
                  <a:gd name="T25" fmla="*/ 51 h 86"/>
                  <a:gd name="T26" fmla="*/ 418 w 422"/>
                  <a:gd name="T27" fmla="*/ 53 h 86"/>
                  <a:gd name="T28" fmla="*/ 420 w 422"/>
                  <a:gd name="T29" fmla="*/ 55 h 86"/>
                  <a:gd name="T30" fmla="*/ 422 w 422"/>
                  <a:gd name="T31" fmla="*/ 56 h 86"/>
                  <a:gd name="T32" fmla="*/ 422 w 422"/>
                  <a:gd name="T33" fmla="*/ 86 h 86"/>
                  <a:gd name="T34" fmla="*/ 422 w 422"/>
                  <a:gd name="T35" fmla="*/ 86 h 86"/>
                  <a:gd name="T36" fmla="*/ 420 w 422"/>
                  <a:gd name="T37" fmla="*/ 84 h 86"/>
                  <a:gd name="T38" fmla="*/ 418 w 422"/>
                  <a:gd name="T39" fmla="*/ 82 h 86"/>
                  <a:gd name="T40" fmla="*/ 414 w 422"/>
                  <a:gd name="T41" fmla="*/ 80 h 86"/>
                  <a:gd name="T42" fmla="*/ 414 w 422"/>
                  <a:gd name="T43" fmla="*/ 80 h 86"/>
                  <a:gd name="T44" fmla="*/ 401 w 422"/>
                  <a:gd name="T45" fmla="*/ 76 h 86"/>
                  <a:gd name="T46" fmla="*/ 383 w 422"/>
                  <a:gd name="T47" fmla="*/ 74 h 86"/>
                  <a:gd name="T48" fmla="*/ 335 w 422"/>
                  <a:gd name="T49" fmla="*/ 67 h 86"/>
                  <a:gd name="T50" fmla="*/ 275 w 422"/>
                  <a:gd name="T51" fmla="*/ 63 h 86"/>
                  <a:gd name="T52" fmla="*/ 209 w 422"/>
                  <a:gd name="T53" fmla="*/ 58 h 86"/>
                  <a:gd name="T54" fmla="*/ 145 w 422"/>
                  <a:gd name="T55" fmla="*/ 53 h 86"/>
                  <a:gd name="T56" fmla="*/ 85 w 422"/>
                  <a:gd name="T57" fmla="*/ 49 h 86"/>
                  <a:gd name="T58" fmla="*/ 39 w 422"/>
                  <a:gd name="T59" fmla="*/ 43 h 86"/>
                  <a:gd name="T60" fmla="*/ 23 w 422"/>
                  <a:gd name="T61" fmla="*/ 41 h 86"/>
                  <a:gd name="T62" fmla="*/ 13 w 422"/>
                  <a:gd name="T63" fmla="*/ 38 h 86"/>
                  <a:gd name="T64" fmla="*/ 13 w 422"/>
                  <a:gd name="T65" fmla="*/ 38 h 86"/>
                  <a:gd name="T66" fmla="*/ 5 w 422"/>
                  <a:gd name="T67" fmla="*/ 35 h 86"/>
                  <a:gd name="T68" fmla="*/ 2 w 422"/>
                  <a:gd name="T69" fmla="*/ 32 h 86"/>
                  <a:gd name="T70" fmla="*/ 0 w 422"/>
                  <a:gd name="T71" fmla="*/ 30 h 86"/>
                  <a:gd name="T72" fmla="*/ 0 w 422"/>
                  <a:gd name="T73" fmla="*/ 30 h 86"/>
                  <a:gd name="T74" fmla="*/ 0 w 422"/>
                  <a:gd name="T75" fmla="*/ 0 h 86"/>
                  <a:gd name="T76" fmla="*/ 0 w 422"/>
                  <a:gd name="T77" fmla="*/ 0 h 86"/>
                  <a:gd name="T78" fmla="*/ 0 w 422"/>
                  <a:gd name="T79" fmla="*/ 3 h 86"/>
                  <a:gd name="T80" fmla="*/ 1 w 422"/>
                  <a:gd name="T81" fmla="*/ 4 h 86"/>
                  <a:gd name="T82" fmla="*/ 5 w 422"/>
                  <a:gd name="T83" fmla="*/ 6 h 86"/>
                  <a:gd name="T84" fmla="*/ 13 w 422"/>
                  <a:gd name="T85" fmla="*/ 9 h 86"/>
                  <a:gd name="T86" fmla="*/ 13 w 422"/>
                  <a:gd name="T87" fmla="*/ 9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422" h="86">
                    <a:moveTo>
                      <a:pt x="13" y="9"/>
                    </a:moveTo>
                    <a:lnTo>
                      <a:pt x="13" y="9"/>
                    </a:lnTo>
                    <a:lnTo>
                      <a:pt x="23" y="13"/>
                    </a:lnTo>
                    <a:lnTo>
                      <a:pt x="39" y="15"/>
                    </a:lnTo>
                    <a:lnTo>
                      <a:pt x="85" y="19"/>
                    </a:lnTo>
                    <a:lnTo>
                      <a:pt x="145" y="25"/>
                    </a:lnTo>
                    <a:lnTo>
                      <a:pt x="209" y="29"/>
                    </a:lnTo>
                    <a:lnTo>
                      <a:pt x="275" y="35"/>
                    </a:lnTo>
                    <a:lnTo>
                      <a:pt x="335" y="39"/>
                    </a:lnTo>
                    <a:lnTo>
                      <a:pt x="383" y="44"/>
                    </a:lnTo>
                    <a:lnTo>
                      <a:pt x="401" y="48"/>
                    </a:lnTo>
                    <a:lnTo>
                      <a:pt x="414" y="51"/>
                    </a:lnTo>
                    <a:lnTo>
                      <a:pt x="414" y="51"/>
                    </a:lnTo>
                    <a:lnTo>
                      <a:pt x="418" y="53"/>
                    </a:lnTo>
                    <a:lnTo>
                      <a:pt x="420" y="55"/>
                    </a:lnTo>
                    <a:lnTo>
                      <a:pt x="422" y="56"/>
                    </a:lnTo>
                    <a:lnTo>
                      <a:pt x="422" y="86"/>
                    </a:lnTo>
                    <a:lnTo>
                      <a:pt x="422" y="86"/>
                    </a:lnTo>
                    <a:lnTo>
                      <a:pt x="420" y="84"/>
                    </a:lnTo>
                    <a:lnTo>
                      <a:pt x="418" y="82"/>
                    </a:lnTo>
                    <a:lnTo>
                      <a:pt x="414" y="80"/>
                    </a:lnTo>
                    <a:lnTo>
                      <a:pt x="414" y="80"/>
                    </a:lnTo>
                    <a:lnTo>
                      <a:pt x="401" y="76"/>
                    </a:lnTo>
                    <a:lnTo>
                      <a:pt x="383" y="74"/>
                    </a:lnTo>
                    <a:lnTo>
                      <a:pt x="335" y="67"/>
                    </a:lnTo>
                    <a:lnTo>
                      <a:pt x="275" y="63"/>
                    </a:lnTo>
                    <a:lnTo>
                      <a:pt x="209" y="58"/>
                    </a:lnTo>
                    <a:lnTo>
                      <a:pt x="145" y="53"/>
                    </a:lnTo>
                    <a:lnTo>
                      <a:pt x="85" y="49"/>
                    </a:lnTo>
                    <a:lnTo>
                      <a:pt x="39" y="43"/>
                    </a:lnTo>
                    <a:lnTo>
                      <a:pt x="23" y="41"/>
                    </a:lnTo>
                    <a:lnTo>
                      <a:pt x="13" y="38"/>
                    </a:lnTo>
                    <a:lnTo>
                      <a:pt x="13" y="38"/>
                    </a:lnTo>
                    <a:lnTo>
                      <a:pt x="5" y="35"/>
                    </a:lnTo>
                    <a:lnTo>
                      <a:pt x="2" y="32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5" y="6"/>
                    </a:lnTo>
                    <a:lnTo>
                      <a:pt x="13" y="9"/>
                    </a:lnTo>
                    <a:lnTo>
                      <a:pt x="13" y="9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400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F9830ED3-3DBC-48FD-BA9A-36F5BDAE3177}"/>
                  </a:ext>
                </a:extLst>
              </p:cNvPr>
              <p:cNvSpPr/>
              <p:nvPr/>
            </p:nvSpPr>
            <p:spPr bwMode="auto">
              <a:xfrm>
                <a:off x="6119018" y="2565399"/>
                <a:ext cx="673100" cy="282575"/>
              </a:xfrm>
              <a:custGeom>
                <a:avLst/>
                <a:gdLst>
                  <a:gd name="T0" fmla="*/ 423 w 424"/>
                  <a:gd name="T1" fmla="*/ 4 h 178"/>
                  <a:gd name="T2" fmla="*/ 423 w 424"/>
                  <a:gd name="T3" fmla="*/ 4 h 178"/>
                  <a:gd name="T4" fmla="*/ 424 w 424"/>
                  <a:gd name="T5" fmla="*/ 3 h 178"/>
                  <a:gd name="T6" fmla="*/ 424 w 424"/>
                  <a:gd name="T7" fmla="*/ 0 h 178"/>
                  <a:gd name="T8" fmla="*/ 424 w 424"/>
                  <a:gd name="T9" fmla="*/ 29 h 178"/>
                  <a:gd name="T10" fmla="*/ 424 w 424"/>
                  <a:gd name="T11" fmla="*/ 29 h 178"/>
                  <a:gd name="T12" fmla="*/ 424 w 424"/>
                  <a:gd name="T13" fmla="*/ 31 h 178"/>
                  <a:gd name="T14" fmla="*/ 423 w 424"/>
                  <a:gd name="T15" fmla="*/ 33 h 178"/>
                  <a:gd name="T16" fmla="*/ 423 w 424"/>
                  <a:gd name="T17" fmla="*/ 33 h 178"/>
                  <a:gd name="T18" fmla="*/ 419 w 424"/>
                  <a:gd name="T19" fmla="*/ 37 h 178"/>
                  <a:gd name="T20" fmla="*/ 413 w 424"/>
                  <a:gd name="T21" fmla="*/ 40 h 178"/>
                  <a:gd name="T22" fmla="*/ 396 w 424"/>
                  <a:gd name="T23" fmla="*/ 48 h 178"/>
                  <a:gd name="T24" fmla="*/ 373 w 424"/>
                  <a:gd name="T25" fmla="*/ 54 h 178"/>
                  <a:gd name="T26" fmla="*/ 344 w 424"/>
                  <a:gd name="T27" fmla="*/ 62 h 178"/>
                  <a:gd name="T28" fmla="*/ 276 w 424"/>
                  <a:gd name="T29" fmla="*/ 78 h 178"/>
                  <a:gd name="T30" fmla="*/ 201 w 424"/>
                  <a:gd name="T31" fmla="*/ 96 h 178"/>
                  <a:gd name="T32" fmla="*/ 163 w 424"/>
                  <a:gd name="T33" fmla="*/ 105 h 178"/>
                  <a:gd name="T34" fmla="*/ 126 w 424"/>
                  <a:gd name="T35" fmla="*/ 115 h 178"/>
                  <a:gd name="T36" fmla="*/ 93 w 424"/>
                  <a:gd name="T37" fmla="*/ 125 h 178"/>
                  <a:gd name="T38" fmla="*/ 62 w 424"/>
                  <a:gd name="T39" fmla="*/ 134 h 178"/>
                  <a:gd name="T40" fmla="*/ 37 w 424"/>
                  <a:gd name="T41" fmla="*/ 145 h 178"/>
                  <a:gd name="T42" fmla="*/ 26 w 424"/>
                  <a:gd name="T43" fmla="*/ 151 h 178"/>
                  <a:gd name="T44" fmla="*/ 17 w 424"/>
                  <a:gd name="T45" fmla="*/ 155 h 178"/>
                  <a:gd name="T46" fmla="*/ 10 w 424"/>
                  <a:gd name="T47" fmla="*/ 161 h 178"/>
                  <a:gd name="T48" fmla="*/ 5 w 424"/>
                  <a:gd name="T49" fmla="*/ 167 h 178"/>
                  <a:gd name="T50" fmla="*/ 2 w 424"/>
                  <a:gd name="T51" fmla="*/ 173 h 178"/>
                  <a:gd name="T52" fmla="*/ 0 w 424"/>
                  <a:gd name="T53" fmla="*/ 178 h 178"/>
                  <a:gd name="T54" fmla="*/ 0 w 424"/>
                  <a:gd name="T55" fmla="*/ 150 h 178"/>
                  <a:gd name="T56" fmla="*/ 0 w 424"/>
                  <a:gd name="T57" fmla="*/ 150 h 178"/>
                  <a:gd name="T58" fmla="*/ 2 w 424"/>
                  <a:gd name="T59" fmla="*/ 144 h 178"/>
                  <a:gd name="T60" fmla="*/ 5 w 424"/>
                  <a:gd name="T61" fmla="*/ 138 h 178"/>
                  <a:gd name="T62" fmla="*/ 10 w 424"/>
                  <a:gd name="T63" fmla="*/ 132 h 178"/>
                  <a:gd name="T64" fmla="*/ 17 w 424"/>
                  <a:gd name="T65" fmla="*/ 127 h 178"/>
                  <a:gd name="T66" fmla="*/ 26 w 424"/>
                  <a:gd name="T67" fmla="*/ 121 h 178"/>
                  <a:gd name="T68" fmla="*/ 37 w 424"/>
                  <a:gd name="T69" fmla="*/ 117 h 178"/>
                  <a:gd name="T70" fmla="*/ 62 w 424"/>
                  <a:gd name="T71" fmla="*/ 106 h 178"/>
                  <a:gd name="T72" fmla="*/ 93 w 424"/>
                  <a:gd name="T73" fmla="*/ 96 h 178"/>
                  <a:gd name="T74" fmla="*/ 126 w 424"/>
                  <a:gd name="T75" fmla="*/ 86 h 178"/>
                  <a:gd name="T76" fmla="*/ 163 w 424"/>
                  <a:gd name="T77" fmla="*/ 76 h 178"/>
                  <a:gd name="T78" fmla="*/ 201 w 424"/>
                  <a:gd name="T79" fmla="*/ 67 h 178"/>
                  <a:gd name="T80" fmla="*/ 276 w 424"/>
                  <a:gd name="T81" fmla="*/ 50 h 178"/>
                  <a:gd name="T82" fmla="*/ 344 w 424"/>
                  <a:gd name="T83" fmla="*/ 33 h 178"/>
                  <a:gd name="T84" fmla="*/ 373 w 424"/>
                  <a:gd name="T85" fmla="*/ 26 h 178"/>
                  <a:gd name="T86" fmla="*/ 396 w 424"/>
                  <a:gd name="T87" fmla="*/ 18 h 178"/>
                  <a:gd name="T88" fmla="*/ 413 w 424"/>
                  <a:gd name="T89" fmla="*/ 11 h 178"/>
                  <a:gd name="T90" fmla="*/ 419 w 424"/>
                  <a:gd name="T91" fmla="*/ 8 h 178"/>
                  <a:gd name="T92" fmla="*/ 423 w 424"/>
                  <a:gd name="T93" fmla="*/ 4 h 178"/>
                  <a:gd name="T94" fmla="*/ 423 w 424"/>
                  <a:gd name="T95" fmla="*/ 4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24" h="178">
                    <a:moveTo>
                      <a:pt x="423" y="4"/>
                    </a:moveTo>
                    <a:lnTo>
                      <a:pt x="423" y="4"/>
                    </a:lnTo>
                    <a:lnTo>
                      <a:pt x="424" y="3"/>
                    </a:lnTo>
                    <a:lnTo>
                      <a:pt x="424" y="0"/>
                    </a:lnTo>
                    <a:lnTo>
                      <a:pt x="424" y="29"/>
                    </a:lnTo>
                    <a:lnTo>
                      <a:pt x="424" y="29"/>
                    </a:lnTo>
                    <a:lnTo>
                      <a:pt x="424" y="31"/>
                    </a:lnTo>
                    <a:lnTo>
                      <a:pt x="423" y="33"/>
                    </a:lnTo>
                    <a:lnTo>
                      <a:pt x="423" y="33"/>
                    </a:lnTo>
                    <a:lnTo>
                      <a:pt x="419" y="37"/>
                    </a:lnTo>
                    <a:lnTo>
                      <a:pt x="413" y="40"/>
                    </a:lnTo>
                    <a:lnTo>
                      <a:pt x="396" y="48"/>
                    </a:lnTo>
                    <a:lnTo>
                      <a:pt x="373" y="54"/>
                    </a:lnTo>
                    <a:lnTo>
                      <a:pt x="344" y="62"/>
                    </a:lnTo>
                    <a:lnTo>
                      <a:pt x="276" y="78"/>
                    </a:lnTo>
                    <a:lnTo>
                      <a:pt x="201" y="96"/>
                    </a:lnTo>
                    <a:lnTo>
                      <a:pt x="163" y="105"/>
                    </a:lnTo>
                    <a:lnTo>
                      <a:pt x="126" y="115"/>
                    </a:lnTo>
                    <a:lnTo>
                      <a:pt x="93" y="125"/>
                    </a:lnTo>
                    <a:lnTo>
                      <a:pt x="62" y="134"/>
                    </a:lnTo>
                    <a:lnTo>
                      <a:pt x="37" y="145"/>
                    </a:lnTo>
                    <a:lnTo>
                      <a:pt x="26" y="151"/>
                    </a:lnTo>
                    <a:lnTo>
                      <a:pt x="17" y="155"/>
                    </a:lnTo>
                    <a:lnTo>
                      <a:pt x="10" y="161"/>
                    </a:lnTo>
                    <a:lnTo>
                      <a:pt x="5" y="167"/>
                    </a:lnTo>
                    <a:lnTo>
                      <a:pt x="2" y="173"/>
                    </a:lnTo>
                    <a:lnTo>
                      <a:pt x="0" y="178"/>
                    </a:lnTo>
                    <a:lnTo>
                      <a:pt x="0" y="150"/>
                    </a:lnTo>
                    <a:lnTo>
                      <a:pt x="0" y="150"/>
                    </a:lnTo>
                    <a:lnTo>
                      <a:pt x="2" y="144"/>
                    </a:lnTo>
                    <a:lnTo>
                      <a:pt x="5" y="138"/>
                    </a:lnTo>
                    <a:lnTo>
                      <a:pt x="10" y="132"/>
                    </a:lnTo>
                    <a:lnTo>
                      <a:pt x="17" y="127"/>
                    </a:lnTo>
                    <a:lnTo>
                      <a:pt x="26" y="121"/>
                    </a:lnTo>
                    <a:lnTo>
                      <a:pt x="37" y="117"/>
                    </a:lnTo>
                    <a:lnTo>
                      <a:pt x="62" y="106"/>
                    </a:lnTo>
                    <a:lnTo>
                      <a:pt x="93" y="96"/>
                    </a:lnTo>
                    <a:lnTo>
                      <a:pt x="126" y="86"/>
                    </a:lnTo>
                    <a:lnTo>
                      <a:pt x="163" y="76"/>
                    </a:lnTo>
                    <a:lnTo>
                      <a:pt x="201" y="67"/>
                    </a:lnTo>
                    <a:lnTo>
                      <a:pt x="276" y="50"/>
                    </a:lnTo>
                    <a:lnTo>
                      <a:pt x="344" y="33"/>
                    </a:lnTo>
                    <a:lnTo>
                      <a:pt x="373" y="26"/>
                    </a:lnTo>
                    <a:lnTo>
                      <a:pt x="396" y="18"/>
                    </a:lnTo>
                    <a:lnTo>
                      <a:pt x="413" y="11"/>
                    </a:lnTo>
                    <a:lnTo>
                      <a:pt x="419" y="8"/>
                    </a:lnTo>
                    <a:lnTo>
                      <a:pt x="423" y="4"/>
                    </a:lnTo>
                    <a:lnTo>
                      <a:pt x="423" y="4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7BC7EAFD-5AF1-4FFA-812C-3B6915FB76FD}"/>
                  </a:ext>
                </a:extLst>
              </p:cNvPr>
              <p:cNvSpPr/>
              <p:nvPr/>
            </p:nvSpPr>
            <p:spPr bwMode="auto">
              <a:xfrm>
                <a:off x="6463506" y="3838574"/>
                <a:ext cx="1903412" cy="2308225"/>
              </a:xfrm>
              <a:custGeom>
                <a:avLst/>
                <a:gdLst>
                  <a:gd name="T0" fmla="*/ 27 w 1199"/>
                  <a:gd name="T1" fmla="*/ 1454 h 1454"/>
                  <a:gd name="T2" fmla="*/ 27 w 1199"/>
                  <a:gd name="T3" fmla="*/ 1454 h 1454"/>
                  <a:gd name="T4" fmla="*/ 90 w 1199"/>
                  <a:gd name="T5" fmla="*/ 1388 h 1454"/>
                  <a:gd name="T6" fmla="*/ 154 w 1199"/>
                  <a:gd name="T7" fmla="*/ 1324 h 1454"/>
                  <a:gd name="T8" fmla="*/ 291 w 1199"/>
                  <a:gd name="T9" fmla="*/ 1185 h 1454"/>
                  <a:gd name="T10" fmla="*/ 373 w 1199"/>
                  <a:gd name="T11" fmla="*/ 1101 h 1454"/>
                  <a:gd name="T12" fmla="*/ 467 w 1199"/>
                  <a:gd name="T13" fmla="*/ 1001 h 1454"/>
                  <a:gd name="T14" fmla="*/ 577 w 1199"/>
                  <a:gd name="T15" fmla="*/ 882 h 1454"/>
                  <a:gd name="T16" fmla="*/ 708 w 1199"/>
                  <a:gd name="T17" fmla="*/ 741 h 1454"/>
                  <a:gd name="T18" fmla="*/ 708 w 1199"/>
                  <a:gd name="T19" fmla="*/ 741 h 1454"/>
                  <a:gd name="T20" fmla="*/ 805 w 1199"/>
                  <a:gd name="T21" fmla="*/ 631 h 1454"/>
                  <a:gd name="T22" fmla="*/ 890 w 1199"/>
                  <a:gd name="T23" fmla="*/ 532 h 1454"/>
                  <a:gd name="T24" fmla="*/ 965 w 1199"/>
                  <a:gd name="T25" fmla="*/ 443 h 1454"/>
                  <a:gd name="T26" fmla="*/ 1028 w 1199"/>
                  <a:gd name="T27" fmla="*/ 364 h 1454"/>
                  <a:gd name="T28" fmla="*/ 1079 w 1199"/>
                  <a:gd name="T29" fmla="*/ 297 h 1454"/>
                  <a:gd name="T30" fmla="*/ 1120 w 1199"/>
                  <a:gd name="T31" fmla="*/ 242 h 1454"/>
                  <a:gd name="T32" fmla="*/ 1150 w 1199"/>
                  <a:gd name="T33" fmla="*/ 199 h 1454"/>
                  <a:gd name="T34" fmla="*/ 1160 w 1199"/>
                  <a:gd name="T35" fmla="*/ 182 h 1454"/>
                  <a:gd name="T36" fmla="*/ 1167 w 1199"/>
                  <a:gd name="T37" fmla="*/ 169 h 1454"/>
                  <a:gd name="T38" fmla="*/ 1167 w 1199"/>
                  <a:gd name="T39" fmla="*/ 169 h 1454"/>
                  <a:gd name="T40" fmla="*/ 1176 w 1199"/>
                  <a:gd name="T41" fmla="*/ 148 h 1454"/>
                  <a:gd name="T42" fmla="*/ 1182 w 1199"/>
                  <a:gd name="T43" fmla="*/ 134 h 1454"/>
                  <a:gd name="T44" fmla="*/ 1187 w 1199"/>
                  <a:gd name="T45" fmla="*/ 116 h 1454"/>
                  <a:gd name="T46" fmla="*/ 1192 w 1199"/>
                  <a:gd name="T47" fmla="*/ 98 h 1454"/>
                  <a:gd name="T48" fmla="*/ 1196 w 1199"/>
                  <a:gd name="T49" fmla="*/ 77 h 1454"/>
                  <a:gd name="T50" fmla="*/ 1198 w 1199"/>
                  <a:gd name="T51" fmla="*/ 54 h 1454"/>
                  <a:gd name="T52" fmla="*/ 1199 w 1199"/>
                  <a:gd name="T53" fmla="*/ 28 h 1454"/>
                  <a:gd name="T54" fmla="*/ 1199 w 1199"/>
                  <a:gd name="T55" fmla="*/ 0 h 1454"/>
                  <a:gd name="T56" fmla="*/ 1199 w 1199"/>
                  <a:gd name="T57" fmla="*/ 0 h 1454"/>
                  <a:gd name="T58" fmla="*/ 1198 w 1199"/>
                  <a:gd name="T59" fmla="*/ 25 h 1454"/>
                  <a:gd name="T60" fmla="*/ 1196 w 1199"/>
                  <a:gd name="T61" fmla="*/ 48 h 1454"/>
                  <a:gd name="T62" fmla="*/ 1192 w 1199"/>
                  <a:gd name="T63" fmla="*/ 69 h 1454"/>
                  <a:gd name="T64" fmla="*/ 1187 w 1199"/>
                  <a:gd name="T65" fmla="*/ 88 h 1454"/>
                  <a:gd name="T66" fmla="*/ 1182 w 1199"/>
                  <a:gd name="T67" fmla="*/ 105 h 1454"/>
                  <a:gd name="T68" fmla="*/ 1176 w 1199"/>
                  <a:gd name="T69" fmla="*/ 120 h 1454"/>
                  <a:gd name="T70" fmla="*/ 1167 w 1199"/>
                  <a:gd name="T71" fmla="*/ 140 h 1454"/>
                  <a:gd name="T72" fmla="*/ 1167 w 1199"/>
                  <a:gd name="T73" fmla="*/ 140 h 1454"/>
                  <a:gd name="T74" fmla="*/ 1160 w 1199"/>
                  <a:gd name="T75" fmla="*/ 154 h 1454"/>
                  <a:gd name="T76" fmla="*/ 1150 w 1199"/>
                  <a:gd name="T77" fmla="*/ 170 h 1454"/>
                  <a:gd name="T78" fmla="*/ 1120 w 1199"/>
                  <a:gd name="T79" fmla="*/ 213 h 1454"/>
                  <a:gd name="T80" fmla="*/ 1079 w 1199"/>
                  <a:gd name="T81" fmla="*/ 268 h 1454"/>
                  <a:gd name="T82" fmla="*/ 1028 w 1199"/>
                  <a:gd name="T83" fmla="*/ 335 h 1454"/>
                  <a:gd name="T84" fmla="*/ 965 w 1199"/>
                  <a:gd name="T85" fmla="*/ 414 h 1454"/>
                  <a:gd name="T86" fmla="*/ 890 w 1199"/>
                  <a:gd name="T87" fmla="*/ 503 h 1454"/>
                  <a:gd name="T88" fmla="*/ 805 w 1199"/>
                  <a:gd name="T89" fmla="*/ 602 h 1454"/>
                  <a:gd name="T90" fmla="*/ 708 w 1199"/>
                  <a:gd name="T91" fmla="*/ 711 h 1454"/>
                  <a:gd name="T92" fmla="*/ 708 w 1199"/>
                  <a:gd name="T93" fmla="*/ 711 h 1454"/>
                  <a:gd name="T94" fmla="*/ 572 w 1199"/>
                  <a:gd name="T95" fmla="*/ 860 h 1454"/>
                  <a:gd name="T96" fmla="*/ 456 w 1199"/>
                  <a:gd name="T97" fmla="*/ 985 h 1454"/>
                  <a:gd name="T98" fmla="*/ 359 w 1199"/>
                  <a:gd name="T99" fmla="*/ 1087 h 1454"/>
                  <a:gd name="T100" fmla="*/ 276 w 1199"/>
                  <a:gd name="T101" fmla="*/ 1173 h 1454"/>
                  <a:gd name="T102" fmla="*/ 134 w 1199"/>
                  <a:gd name="T103" fmla="*/ 1315 h 1454"/>
                  <a:gd name="T104" fmla="*/ 67 w 1199"/>
                  <a:gd name="T105" fmla="*/ 1383 h 1454"/>
                  <a:gd name="T106" fmla="*/ 0 w 1199"/>
                  <a:gd name="T107" fmla="*/ 1454 h 1454"/>
                  <a:gd name="T108" fmla="*/ 27 w 1199"/>
                  <a:gd name="T109" fmla="*/ 1454 h 14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99" h="1454">
                    <a:moveTo>
                      <a:pt x="27" y="1454"/>
                    </a:moveTo>
                    <a:lnTo>
                      <a:pt x="27" y="1454"/>
                    </a:lnTo>
                    <a:lnTo>
                      <a:pt x="90" y="1388"/>
                    </a:lnTo>
                    <a:lnTo>
                      <a:pt x="154" y="1324"/>
                    </a:lnTo>
                    <a:lnTo>
                      <a:pt x="291" y="1185"/>
                    </a:lnTo>
                    <a:lnTo>
                      <a:pt x="373" y="1101"/>
                    </a:lnTo>
                    <a:lnTo>
                      <a:pt x="467" y="1001"/>
                    </a:lnTo>
                    <a:lnTo>
                      <a:pt x="577" y="882"/>
                    </a:lnTo>
                    <a:lnTo>
                      <a:pt x="708" y="741"/>
                    </a:lnTo>
                    <a:lnTo>
                      <a:pt x="708" y="741"/>
                    </a:lnTo>
                    <a:lnTo>
                      <a:pt x="805" y="631"/>
                    </a:lnTo>
                    <a:lnTo>
                      <a:pt x="890" y="532"/>
                    </a:lnTo>
                    <a:lnTo>
                      <a:pt x="965" y="443"/>
                    </a:lnTo>
                    <a:lnTo>
                      <a:pt x="1028" y="364"/>
                    </a:lnTo>
                    <a:lnTo>
                      <a:pt x="1079" y="297"/>
                    </a:lnTo>
                    <a:lnTo>
                      <a:pt x="1120" y="242"/>
                    </a:lnTo>
                    <a:lnTo>
                      <a:pt x="1150" y="199"/>
                    </a:lnTo>
                    <a:lnTo>
                      <a:pt x="1160" y="182"/>
                    </a:lnTo>
                    <a:lnTo>
                      <a:pt x="1167" y="169"/>
                    </a:lnTo>
                    <a:lnTo>
                      <a:pt x="1167" y="169"/>
                    </a:lnTo>
                    <a:lnTo>
                      <a:pt x="1176" y="148"/>
                    </a:lnTo>
                    <a:lnTo>
                      <a:pt x="1182" y="134"/>
                    </a:lnTo>
                    <a:lnTo>
                      <a:pt x="1187" y="116"/>
                    </a:lnTo>
                    <a:lnTo>
                      <a:pt x="1192" y="98"/>
                    </a:lnTo>
                    <a:lnTo>
                      <a:pt x="1196" y="77"/>
                    </a:lnTo>
                    <a:lnTo>
                      <a:pt x="1198" y="54"/>
                    </a:lnTo>
                    <a:lnTo>
                      <a:pt x="1199" y="28"/>
                    </a:lnTo>
                    <a:lnTo>
                      <a:pt x="1199" y="0"/>
                    </a:lnTo>
                    <a:lnTo>
                      <a:pt x="1199" y="0"/>
                    </a:lnTo>
                    <a:lnTo>
                      <a:pt x="1198" y="25"/>
                    </a:lnTo>
                    <a:lnTo>
                      <a:pt x="1196" y="48"/>
                    </a:lnTo>
                    <a:lnTo>
                      <a:pt x="1192" y="69"/>
                    </a:lnTo>
                    <a:lnTo>
                      <a:pt x="1187" y="88"/>
                    </a:lnTo>
                    <a:lnTo>
                      <a:pt x="1182" y="105"/>
                    </a:lnTo>
                    <a:lnTo>
                      <a:pt x="1176" y="120"/>
                    </a:lnTo>
                    <a:lnTo>
                      <a:pt x="1167" y="140"/>
                    </a:lnTo>
                    <a:lnTo>
                      <a:pt x="1167" y="140"/>
                    </a:lnTo>
                    <a:lnTo>
                      <a:pt x="1160" y="154"/>
                    </a:lnTo>
                    <a:lnTo>
                      <a:pt x="1150" y="170"/>
                    </a:lnTo>
                    <a:lnTo>
                      <a:pt x="1120" y="213"/>
                    </a:lnTo>
                    <a:lnTo>
                      <a:pt x="1079" y="268"/>
                    </a:lnTo>
                    <a:lnTo>
                      <a:pt x="1028" y="335"/>
                    </a:lnTo>
                    <a:lnTo>
                      <a:pt x="965" y="414"/>
                    </a:lnTo>
                    <a:lnTo>
                      <a:pt x="890" y="503"/>
                    </a:lnTo>
                    <a:lnTo>
                      <a:pt x="805" y="602"/>
                    </a:lnTo>
                    <a:lnTo>
                      <a:pt x="708" y="711"/>
                    </a:lnTo>
                    <a:lnTo>
                      <a:pt x="708" y="711"/>
                    </a:lnTo>
                    <a:lnTo>
                      <a:pt x="572" y="860"/>
                    </a:lnTo>
                    <a:lnTo>
                      <a:pt x="456" y="985"/>
                    </a:lnTo>
                    <a:lnTo>
                      <a:pt x="359" y="1087"/>
                    </a:lnTo>
                    <a:lnTo>
                      <a:pt x="276" y="1173"/>
                    </a:lnTo>
                    <a:lnTo>
                      <a:pt x="134" y="1315"/>
                    </a:lnTo>
                    <a:lnTo>
                      <a:pt x="67" y="1383"/>
                    </a:lnTo>
                    <a:lnTo>
                      <a:pt x="0" y="1454"/>
                    </a:lnTo>
                    <a:lnTo>
                      <a:pt x="27" y="1454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EE7415BB-8EA1-4222-85B8-8D6C3A978B63}"/>
                  </a:ext>
                </a:extLst>
              </p:cNvPr>
              <p:cNvSpPr/>
              <p:nvPr/>
            </p:nvSpPr>
            <p:spPr bwMode="auto">
              <a:xfrm>
                <a:off x="3825081" y="2368549"/>
                <a:ext cx="4541837" cy="3778250"/>
              </a:xfrm>
              <a:custGeom>
                <a:avLst/>
                <a:gdLst>
                  <a:gd name="T0" fmla="*/ 1582 w 2861"/>
                  <a:gd name="T1" fmla="*/ 461 h 2380"/>
                  <a:gd name="T2" fmla="*/ 1774 w 2861"/>
                  <a:gd name="T3" fmla="*/ 510 h 2380"/>
                  <a:gd name="T4" fmla="*/ 1915 w 2861"/>
                  <a:gd name="T5" fmla="*/ 562 h 2380"/>
                  <a:gd name="T6" fmla="*/ 2012 w 2861"/>
                  <a:gd name="T7" fmla="*/ 612 h 2380"/>
                  <a:gd name="T8" fmla="*/ 2093 w 2861"/>
                  <a:gd name="T9" fmla="*/ 684 h 2380"/>
                  <a:gd name="T10" fmla="*/ 2119 w 2861"/>
                  <a:gd name="T11" fmla="*/ 739 h 2380"/>
                  <a:gd name="T12" fmla="*/ 2121 w 2861"/>
                  <a:gd name="T13" fmla="*/ 794 h 2380"/>
                  <a:gd name="T14" fmla="*/ 2092 w 2861"/>
                  <a:gd name="T15" fmla="*/ 863 h 2380"/>
                  <a:gd name="T16" fmla="*/ 2010 w 2861"/>
                  <a:gd name="T17" fmla="*/ 962 h 2380"/>
                  <a:gd name="T18" fmla="*/ 1855 w 2861"/>
                  <a:gd name="T19" fmla="*/ 1102 h 2380"/>
                  <a:gd name="T20" fmla="*/ 1607 w 2861"/>
                  <a:gd name="T21" fmla="*/ 1291 h 2380"/>
                  <a:gd name="T22" fmla="*/ 1325 w 2861"/>
                  <a:gd name="T23" fmla="*/ 1485 h 2380"/>
                  <a:gd name="T24" fmla="*/ 1662 w 2861"/>
                  <a:gd name="T25" fmla="*/ 2380 h 2380"/>
                  <a:gd name="T26" fmla="*/ 2021 w 2861"/>
                  <a:gd name="T27" fmla="*/ 2013 h 2380"/>
                  <a:gd name="T28" fmla="*/ 2467 w 2861"/>
                  <a:gd name="T29" fmla="*/ 1528 h 2380"/>
                  <a:gd name="T30" fmla="*/ 2782 w 2861"/>
                  <a:gd name="T31" fmla="*/ 1139 h 2380"/>
                  <a:gd name="T32" fmla="*/ 2835 w 2861"/>
                  <a:gd name="T33" fmla="*/ 1054 h 2380"/>
                  <a:gd name="T34" fmla="*/ 2860 w 2861"/>
                  <a:gd name="T35" fmla="*/ 959 h 2380"/>
                  <a:gd name="T36" fmla="*/ 2858 w 2861"/>
                  <a:gd name="T37" fmla="*/ 881 h 2380"/>
                  <a:gd name="T38" fmla="*/ 2832 w 2861"/>
                  <a:gd name="T39" fmla="*/ 791 h 2380"/>
                  <a:gd name="T40" fmla="*/ 2768 w 2861"/>
                  <a:gd name="T41" fmla="*/ 694 h 2380"/>
                  <a:gd name="T42" fmla="*/ 2657 w 2861"/>
                  <a:gd name="T43" fmla="*/ 596 h 2380"/>
                  <a:gd name="T44" fmla="*/ 2525 w 2861"/>
                  <a:gd name="T45" fmla="*/ 522 h 2380"/>
                  <a:gd name="T46" fmla="*/ 2315 w 2861"/>
                  <a:gd name="T47" fmla="*/ 453 h 2380"/>
                  <a:gd name="T48" fmla="*/ 2032 w 2861"/>
                  <a:gd name="T49" fmla="*/ 394 h 2380"/>
                  <a:gd name="T50" fmla="*/ 1611 w 2861"/>
                  <a:gd name="T51" fmla="*/ 330 h 2380"/>
                  <a:gd name="T52" fmla="*/ 1469 w 2861"/>
                  <a:gd name="T53" fmla="*/ 297 h 2380"/>
                  <a:gd name="T54" fmla="*/ 1447 w 2861"/>
                  <a:gd name="T55" fmla="*/ 279 h 2380"/>
                  <a:gd name="T56" fmla="*/ 1466 w 2861"/>
                  <a:gd name="T57" fmla="*/ 249 h 2380"/>
                  <a:gd name="T58" fmla="*/ 1587 w 2861"/>
                  <a:gd name="T59" fmla="*/ 206 h 2380"/>
                  <a:gd name="T60" fmla="*/ 1839 w 2861"/>
                  <a:gd name="T61" fmla="*/ 143 h 2380"/>
                  <a:gd name="T62" fmla="*/ 1868 w 2861"/>
                  <a:gd name="T63" fmla="*/ 128 h 2380"/>
                  <a:gd name="T64" fmla="*/ 1849 w 2861"/>
                  <a:gd name="T65" fmla="*/ 112 h 2380"/>
                  <a:gd name="T66" fmla="*/ 1659 w 2861"/>
                  <a:gd name="T67" fmla="*/ 86 h 2380"/>
                  <a:gd name="T68" fmla="*/ 1399 w 2861"/>
                  <a:gd name="T69" fmla="*/ 63 h 2380"/>
                  <a:gd name="T70" fmla="*/ 1398 w 2861"/>
                  <a:gd name="T71" fmla="*/ 53 h 2380"/>
                  <a:gd name="T72" fmla="*/ 1492 w 2861"/>
                  <a:gd name="T73" fmla="*/ 36 h 2380"/>
                  <a:gd name="T74" fmla="*/ 1618 w 2861"/>
                  <a:gd name="T75" fmla="*/ 23 h 2380"/>
                  <a:gd name="T76" fmla="*/ 1625 w 2861"/>
                  <a:gd name="T77" fmla="*/ 14 h 2380"/>
                  <a:gd name="T78" fmla="*/ 1544 w 2861"/>
                  <a:gd name="T79" fmla="*/ 1 h 2380"/>
                  <a:gd name="T80" fmla="*/ 1493 w 2861"/>
                  <a:gd name="T81" fmla="*/ 2 h 2380"/>
                  <a:gd name="T82" fmla="*/ 1510 w 2861"/>
                  <a:gd name="T83" fmla="*/ 6 h 2380"/>
                  <a:gd name="T84" fmla="*/ 1543 w 2861"/>
                  <a:gd name="T85" fmla="*/ 12 h 2380"/>
                  <a:gd name="T86" fmla="*/ 1389 w 2861"/>
                  <a:gd name="T87" fmla="*/ 30 h 2380"/>
                  <a:gd name="T88" fmla="*/ 1240 w 2861"/>
                  <a:gd name="T89" fmla="*/ 54 h 2380"/>
                  <a:gd name="T90" fmla="*/ 1249 w 2861"/>
                  <a:gd name="T91" fmla="*/ 67 h 2380"/>
                  <a:gd name="T92" fmla="*/ 1381 w 2861"/>
                  <a:gd name="T93" fmla="*/ 83 h 2380"/>
                  <a:gd name="T94" fmla="*/ 1637 w 2861"/>
                  <a:gd name="T95" fmla="*/ 106 h 2380"/>
                  <a:gd name="T96" fmla="*/ 1658 w 2861"/>
                  <a:gd name="T97" fmla="*/ 114 h 2380"/>
                  <a:gd name="T98" fmla="*/ 1640 w 2861"/>
                  <a:gd name="T99" fmla="*/ 125 h 2380"/>
                  <a:gd name="T100" fmla="*/ 1410 w 2861"/>
                  <a:gd name="T101" fmla="*/ 169 h 2380"/>
                  <a:gd name="T102" fmla="*/ 1237 w 2861"/>
                  <a:gd name="T103" fmla="*/ 209 h 2380"/>
                  <a:gd name="T104" fmla="*/ 1144 w 2861"/>
                  <a:gd name="T105" fmla="*/ 249 h 2380"/>
                  <a:gd name="T106" fmla="*/ 1116 w 2861"/>
                  <a:gd name="T107" fmla="*/ 276 h 2380"/>
                  <a:gd name="T108" fmla="*/ 1113 w 2861"/>
                  <a:gd name="T109" fmla="*/ 307 h 2380"/>
                  <a:gd name="T110" fmla="*/ 1137 w 2861"/>
                  <a:gd name="T111" fmla="*/ 337 h 2380"/>
                  <a:gd name="T112" fmla="*/ 1195 w 2861"/>
                  <a:gd name="T113" fmla="*/ 371 h 2380"/>
                  <a:gd name="T114" fmla="*/ 1304 w 2861"/>
                  <a:gd name="T115" fmla="*/ 406 h 2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861" h="2380">
                    <a:moveTo>
                      <a:pt x="1437" y="433"/>
                    </a:moveTo>
                    <a:lnTo>
                      <a:pt x="1437" y="433"/>
                    </a:lnTo>
                    <a:lnTo>
                      <a:pt x="1487" y="442"/>
                    </a:lnTo>
                    <a:lnTo>
                      <a:pt x="1536" y="451"/>
                    </a:lnTo>
                    <a:lnTo>
                      <a:pt x="1582" y="461"/>
                    </a:lnTo>
                    <a:lnTo>
                      <a:pt x="1625" y="471"/>
                    </a:lnTo>
                    <a:lnTo>
                      <a:pt x="1665" y="481"/>
                    </a:lnTo>
                    <a:lnTo>
                      <a:pt x="1704" y="490"/>
                    </a:lnTo>
                    <a:lnTo>
                      <a:pt x="1740" y="500"/>
                    </a:lnTo>
                    <a:lnTo>
                      <a:pt x="1774" y="510"/>
                    </a:lnTo>
                    <a:lnTo>
                      <a:pt x="1807" y="520"/>
                    </a:lnTo>
                    <a:lnTo>
                      <a:pt x="1837" y="531"/>
                    </a:lnTo>
                    <a:lnTo>
                      <a:pt x="1864" y="541"/>
                    </a:lnTo>
                    <a:lnTo>
                      <a:pt x="1891" y="552"/>
                    </a:lnTo>
                    <a:lnTo>
                      <a:pt x="1915" y="562"/>
                    </a:lnTo>
                    <a:lnTo>
                      <a:pt x="1938" y="572"/>
                    </a:lnTo>
                    <a:lnTo>
                      <a:pt x="1959" y="583"/>
                    </a:lnTo>
                    <a:lnTo>
                      <a:pt x="1977" y="593"/>
                    </a:lnTo>
                    <a:lnTo>
                      <a:pt x="1995" y="603"/>
                    </a:lnTo>
                    <a:lnTo>
                      <a:pt x="2012" y="612"/>
                    </a:lnTo>
                    <a:lnTo>
                      <a:pt x="2026" y="622"/>
                    </a:lnTo>
                    <a:lnTo>
                      <a:pt x="2039" y="631"/>
                    </a:lnTo>
                    <a:lnTo>
                      <a:pt x="2062" y="650"/>
                    </a:lnTo>
                    <a:lnTo>
                      <a:pt x="2080" y="667"/>
                    </a:lnTo>
                    <a:lnTo>
                      <a:pt x="2093" y="684"/>
                    </a:lnTo>
                    <a:lnTo>
                      <a:pt x="2103" y="699"/>
                    </a:lnTo>
                    <a:lnTo>
                      <a:pt x="2110" y="712"/>
                    </a:lnTo>
                    <a:lnTo>
                      <a:pt x="2115" y="725"/>
                    </a:lnTo>
                    <a:lnTo>
                      <a:pt x="2115" y="725"/>
                    </a:lnTo>
                    <a:lnTo>
                      <a:pt x="2119" y="739"/>
                    </a:lnTo>
                    <a:lnTo>
                      <a:pt x="2123" y="755"/>
                    </a:lnTo>
                    <a:lnTo>
                      <a:pt x="2124" y="764"/>
                    </a:lnTo>
                    <a:lnTo>
                      <a:pt x="2124" y="773"/>
                    </a:lnTo>
                    <a:lnTo>
                      <a:pt x="2123" y="784"/>
                    </a:lnTo>
                    <a:lnTo>
                      <a:pt x="2121" y="794"/>
                    </a:lnTo>
                    <a:lnTo>
                      <a:pt x="2118" y="806"/>
                    </a:lnTo>
                    <a:lnTo>
                      <a:pt x="2114" y="819"/>
                    </a:lnTo>
                    <a:lnTo>
                      <a:pt x="2108" y="832"/>
                    </a:lnTo>
                    <a:lnTo>
                      <a:pt x="2101" y="847"/>
                    </a:lnTo>
                    <a:lnTo>
                      <a:pt x="2092" y="863"/>
                    </a:lnTo>
                    <a:lnTo>
                      <a:pt x="2081" y="880"/>
                    </a:lnTo>
                    <a:lnTo>
                      <a:pt x="2066" y="898"/>
                    </a:lnTo>
                    <a:lnTo>
                      <a:pt x="2050" y="918"/>
                    </a:lnTo>
                    <a:lnTo>
                      <a:pt x="2031" y="939"/>
                    </a:lnTo>
                    <a:lnTo>
                      <a:pt x="2010" y="962"/>
                    </a:lnTo>
                    <a:lnTo>
                      <a:pt x="1986" y="986"/>
                    </a:lnTo>
                    <a:lnTo>
                      <a:pt x="1959" y="1013"/>
                    </a:lnTo>
                    <a:lnTo>
                      <a:pt x="1928" y="1040"/>
                    </a:lnTo>
                    <a:lnTo>
                      <a:pt x="1894" y="1070"/>
                    </a:lnTo>
                    <a:lnTo>
                      <a:pt x="1855" y="1102"/>
                    </a:lnTo>
                    <a:lnTo>
                      <a:pt x="1815" y="1135"/>
                    </a:lnTo>
                    <a:lnTo>
                      <a:pt x="1769" y="1171"/>
                    </a:lnTo>
                    <a:lnTo>
                      <a:pt x="1719" y="1208"/>
                    </a:lnTo>
                    <a:lnTo>
                      <a:pt x="1665" y="1249"/>
                    </a:lnTo>
                    <a:lnTo>
                      <a:pt x="1607" y="1291"/>
                    </a:lnTo>
                    <a:lnTo>
                      <a:pt x="1543" y="1336"/>
                    </a:lnTo>
                    <a:lnTo>
                      <a:pt x="1476" y="1383"/>
                    </a:lnTo>
                    <a:lnTo>
                      <a:pt x="1403" y="1432"/>
                    </a:lnTo>
                    <a:lnTo>
                      <a:pt x="1325" y="1485"/>
                    </a:lnTo>
                    <a:lnTo>
                      <a:pt x="1325" y="1485"/>
                    </a:lnTo>
                    <a:lnTo>
                      <a:pt x="938" y="1745"/>
                    </a:lnTo>
                    <a:lnTo>
                      <a:pt x="568" y="1993"/>
                    </a:lnTo>
                    <a:lnTo>
                      <a:pt x="246" y="2212"/>
                    </a:lnTo>
                    <a:lnTo>
                      <a:pt x="0" y="2380"/>
                    </a:lnTo>
                    <a:lnTo>
                      <a:pt x="1662" y="2380"/>
                    </a:lnTo>
                    <a:lnTo>
                      <a:pt x="1662" y="2380"/>
                    </a:lnTo>
                    <a:lnTo>
                      <a:pt x="1729" y="2309"/>
                    </a:lnTo>
                    <a:lnTo>
                      <a:pt x="1796" y="2241"/>
                    </a:lnTo>
                    <a:lnTo>
                      <a:pt x="1938" y="2099"/>
                    </a:lnTo>
                    <a:lnTo>
                      <a:pt x="2021" y="2013"/>
                    </a:lnTo>
                    <a:lnTo>
                      <a:pt x="2118" y="1911"/>
                    </a:lnTo>
                    <a:lnTo>
                      <a:pt x="2234" y="1786"/>
                    </a:lnTo>
                    <a:lnTo>
                      <a:pt x="2370" y="1637"/>
                    </a:lnTo>
                    <a:lnTo>
                      <a:pt x="2370" y="1637"/>
                    </a:lnTo>
                    <a:lnTo>
                      <a:pt x="2467" y="1528"/>
                    </a:lnTo>
                    <a:lnTo>
                      <a:pt x="2552" y="1429"/>
                    </a:lnTo>
                    <a:lnTo>
                      <a:pt x="2627" y="1340"/>
                    </a:lnTo>
                    <a:lnTo>
                      <a:pt x="2690" y="1261"/>
                    </a:lnTo>
                    <a:lnTo>
                      <a:pt x="2741" y="1194"/>
                    </a:lnTo>
                    <a:lnTo>
                      <a:pt x="2782" y="1139"/>
                    </a:lnTo>
                    <a:lnTo>
                      <a:pt x="2812" y="1096"/>
                    </a:lnTo>
                    <a:lnTo>
                      <a:pt x="2822" y="1080"/>
                    </a:lnTo>
                    <a:lnTo>
                      <a:pt x="2829" y="1066"/>
                    </a:lnTo>
                    <a:lnTo>
                      <a:pt x="2829" y="1066"/>
                    </a:lnTo>
                    <a:lnTo>
                      <a:pt x="2835" y="1054"/>
                    </a:lnTo>
                    <a:lnTo>
                      <a:pt x="2840" y="1039"/>
                    </a:lnTo>
                    <a:lnTo>
                      <a:pt x="2847" y="1020"/>
                    </a:lnTo>
                    <a:lnTo>
                      <a:pt x="2854" y="998"/>
                    </a:lnTo>
                    <a:lnTo>
                      <a:pt x="2858" y="972"/>
                    </a:lnTo>
                    <a:lnTo>
                      <a:pt x="2860" y="959"/>
                    </a:lnTo>
                    <a:lnTo>
                      <a:pt x="2861" y="944"/>
                    </a:lnTo>
                    <a:lnTo>
                      <a:pt x="2861" y="929"/>
                    </a:lnTo>
                    <a:lnTo>
                      <a:pt x="2861" y="914"/>
                    </a:lnTo>
                    <a:lnTo>
                      <a:pt x="2860" y="897"/>
                    </a:lnTo>
                    <a:lnTo>
                      <a:pt x="2858" y="881"/>
                    </a:lnTo>
                    <a:lnTo>
                      <a:pt x="2856" y="863"/>
                    </a:lnTo>
                    <a:lnTo>
                      <a:pt x="2851" y="845"/>
                    </a:lnTo>
                    <a:lnTo>
                      <a:pt x="2846" y="828"/>
                    </a:lnTo>
                    <a:lnTo>
                      <a:pt x="2839" y="809"/>
                    </a:lnTo>
                    <a:lnTo>
                      <a:pt x="2832" y="791"/>
                    </a:lnTo>
                    <a:lnTo>
                      <a:pt x="2822" y="772"/>
                    </a:lnTo>
                    <a:lnTo>
                      <a:pt x="2811" y="752"/>
                    </a:lnTo>
                    <a:lnTo>
                      <a:pt x="2799" y="733"/>
                    </a:lnTo>
                    <a:lnTo>
                      <a:pt x="2784" y="714"/>
                    </a:lnTo>
                    <a:lnTo>
                      <a:pt x="2768" y="694"/>
                    </a:lnTo>
                    <a:lnTo>
                      <a:pt x="2749" y="674"/>
                    </a:lnTo>
                    <a:lnTo>
                      <a:pt x="2729" y="654"/>
                    </a:lnTo>
                    <a:lnTo>
                      <a:pt x="2707" y="634"/>
                    </a:lnTo>
                    <a:lnTo>
                      <a:pt x="2683" y="615"/>
                    </a:lnTo>
                    <a:lnTo>
                      <a:pt x="2657" y="596"/>
                    </a:lnTo>
                    <a:lnTo>
                      <a:pt x="2627" y="576"/>
                    </a:lnTo>
                    <a:lnTo>
                      <a:pt x="2627" y="576"/>
                    </a:lnTo>
                    <a:lnTo>
                      <a:pt x="2596" y="557"/>
                    </a:lnTo>
                    <a:lnTo>
                      <a:pt x="2562" y="540"/>
                    </a:lnTo>
                    <a:lnTo>
                      <a:pt x="2525" y="522"/>
                    </a:lnTo>
                    <a:lnTo>
                      <a:pt x="2486" y="507"/>
                    </a:lnTo>
                    <a:lnTo>
                      <a:pt x="2446" y="492"/>
                    </a:lnTo>
                    <a:lnTo>
                      <a:pt x="2404" y="478"/>
                    </a:lnTo>
                    <a:lnTo>
                      <a:pt x="2360" y="465"/>
                    </a:lnTo>
                    <a:lnTo>
                      <a:pt x="2315" y="453"/>
                    </a:lnTo>
                    <a:lnTo>
                      <a:pt x="2269" y="441"/>
                    </a:lnTo>
                    <a:lnTo>
                      <a:pt x="2223" y="431"/>
                    </a:lnTo>
                    <a:lnTo>
                      <a:pt x="2175" y="420"/>
                    </a:lnTo>
                    <a:lnTo>
                      <a:pt x="2127" y="411"/>
                    </a:lnTo>
                    <a:lnTo>
                      <a:pt x="2032" y="394"/>
                    </a:lnTo>
                    <a:lnTo>
                      <a:pt x="1938" y="378"/>
                    </a:lnTo>
                    <a:lnTo>
                      <a:pt x="1847" y="365"/>
                    </a:lnTo>
                    <a:lnTo>
                      <a:pt x="1761" y="352"/>
                    </a:lnTo>
                    <a:lnTo>
                      <a:pt x="1682" y="341"/>
                    </a:lnTo>
                    <a:lnTo>
                      <a:pt x="1611" y="330"/>
                    </a:lnTo>
                    <a:lnTo>
                      <a:pt x="1551" y="319"/>
                    </a:lnTo>
                    <a:lnTo>
                      <a:pt x="1525" y="315"/>
                    </a:lnTo>
                    <a:lnTo>
                      <a:pt x="1503" y="309"/>
                    </a:lnTo>
                    <a:lnTo>
                      <a:pt x="1484" y="304"/>
                    </a:lnTo>
                    <a:lnTo>
                      <a:pt x="1469" y="297"/>
                    </a:lnTo>
                    <a:lnTo>
                      <a:pt x="1456" y="291"/>
                    </a:lnTo>
                    <a:lnTo>
                      <a:pt x="1453" y="288"/>
                    </a:lnTo>
                    <a:lnTo>
                      <a:pt x="1450" y="285"/>
                    </a:lnTo>
                    <a:lnTo>
                      <a:pt x="1450" y="285"/>
                    </a:lnTo>
                    <a:lnTo>
                      <a:pt x="1447" y="279"/>
                    </a:lnTo>
                    <a:lnTo>
                      <a:pt x="1445" y="273"/>
                    </a:lnTo>
                    <a:lnTo>
                      <a:pt x="1447" y="266"/>
                    </a:lnTo>
                    <a:lnTo>
                      <a:pt x="1451" y="261"/>
                    </a:lnTo>
                    <a:lnTo>
                      <a:pt x="1458" y="254"/>
                    </a:lnTo>
                    <a:lnTo>
                      <a:pt x="1466" y="249"/>
                    </a:lnTo>
                    <a:lnTo>
                      <a:pt x="1476" y="243"/>
                    </a:lnTo>
                    <a:lnTo>
                      <a:pt x="1488" y="238"/>
                    </a:lnTo>
                    <a:lnTo>
                      <a:pt x="1517" y="227"/>
                    </a:lnTo>
                    <a:lnTo>
                      <a:pt x="1551" y="216"/>
                    </a:lnTo>
                    <a:lnTo>
                      <a:pt x="1587" y="206"/>
                    </a:lnTo>
                    <a:lnTo>
                      <a:pt x="1627" y="196"/>
                    </a:lnTo>
                    <a:lnTo>
                      <a:pt x="1708" y="177"/>
                    </a:lnTo>
                    <a:lnTo>
                      <a:pt x="1782" y="160"/>
                    </a:lnTo>
                    <a:lnTo>
                      <a:pt x="1814" y="152"/>
                    </a:lnTo>
                    <a:lnTo>
                      <a:pt x="1839" y="143"/>
                    </a:lnTo>
                    <a:lnTo>
                      <a:pt x="1849" y="140"/>
                    </a:lnTo>
                    <a:lnTo>
                      <a:pt x="1858" y="135"/>
                    </a:lnTo>
                    <a:lnTo>
                      <a:pt x="1863" y="132"/>
                    </a:lnTo>
                    <a:lnTo>
                      <a:pt x="1868" y="128"/>
                    </a:lnTo>
                    <a:lnTo>
                      <a:pt x="1868" y="128"/>
                    </a:lnTo>
                    <a:lnTo>
                      <a:pt x="1869" y="124"/>
                    </a:lnTo>
                    <a:lnTo>
                      <a:pt x="1868" y="121"/>
                    </a:lnTo>
                    <a:lnTo>
                      <a:pt x="1864" y="118"/>
                    </a:lnTo>
                    <a:lnTo>
                      <a:pt x="1858" y="114"/>
                    </a:lnTo>
                    <a:lnTo>
                      <a:pt x="1849" y="112"/>
                    </a:lnTo>
                    <a:lnTo>
                      <a:pt x="1839" y="109"/>
                    </a:lnTo>
                    <a:lnTo>
                      <a:pt x="1813" y="103"/>
                    </a:lnTo>
                    <a:lnTo>
                      <a:pt x="1780" y="99"/>
                    </a:lnTo>
                    <a:lnTo>
                      <a:pt x="1742" y="95"/>
                    </a:lnTo>
                    <a:lnTo>
                      <a:pt x="1659" y="86"/>
                    </a:lnTo>
                    <a:lnTo>
                      <a:pt x="1492" y="74"/>
                    </a:lnTo>
                    <a:lnTo>
                      <a:pt x="1431" y="68"/>
                    </a:lnTo>
                    <a:lnTo>
                      <a:pt x="1411" y="66"/>
                    </a:lnTo>
                    <a:lnTo>
                      <a:pt x="1399" y="63"/>
                    </a:lnTo>
                    <a:lnTo>
                      <a:pt x="1399" y="63"/>
                    </a:lnTo>
                    <a:lnTo>
                      <a:pt x="1395" y="61"/>
                    </a:lnTo>
                    <a:lnTo>
                      <a:pt x="1394" y="60"/>
                    </a:lnTo>
                    <a:lnTo>
                      <a:pt x="1393" y="58"/>
                    </a:lnTo>
                    <a:lnTo>
                      <a:pt x="1395" y="55"/>
                    </a:lnTo>
                    <a:lnTo>
                      <a:pt x="1398" y="53"/>
                    </a:lnTo>
                    <a:lnTo>
                      <a:pt x="1405" y="51"/>
                    </a:lnTo>
                    <a:lnTo>
                      <a:pt x="1414" y="49"/>
                    </a:lnTo>
                    <a:lnTo>
                      <a:pt x="1436" y="44"/>
                    </a:lnTo>
                    <a:lnTo>
                      <a:pt x="1462" y="40"/>
                    </a:lnTo>
                    <a:lnTo>
                      <a:pt x="1492" y="36"/>
                    </a:lnTo>
                    <a:lnTo>
                      <a:pt x="1545" y="31"/>
                    </a:lnTo>
                    <a:lnTo>
                      <a:pt x="1545" y="31"/>
                    </a:lnTo>
                    <a:lnTo>
                      <a:pt x="1584" y="28"/>
                    </a:lnTo>
                    <a:lnTo>
                      <a:pt x="1610" y="24"/>
                    </a:lnTo>
                    <a:lnTo>
                      <a:pt x="1618" y="23"/>
                    </a:lnTo>
                    <a:lnTo>
                      <a:pt x="1624" y="21"/>
                    </a:lnTo>
                    <a:lnTo>
                      <a:pt x="1626" y="19"/>
                    </a:lnTo>
                    <a:lnTo>
                      <a:pt x="1626" y="16"/>
                    </a:lnTo>
                    <a:lnTo>
                      <a:pt x="1626" y="16"/>
                    </a:lnTo>
                    <a:lnTo>
                      <a:pt x="1625" y="14"/>
                    </a:lnTo>
                    <a:lnTo>
                      <a:pt x="1622" y="12"/>
                    </a:lnTo>
                    <a:lnTo>
                      <a:pt x="1613" y="10"/>
                    </a:lnTo>
                    <a:lnTo>
                      <a:pt x="1598" y="7"/>
                    </a:lnTo>
                    <a:lnTo>
                      <a:pt x="1582" y="5"/>
                    </a:lnTo>
                    <a:lnTo>
                      <a:pt x="1544" y="1"/>
                    </a:lnTo>
                    <a:lnTo>
                      <a:pt x="1510" y="0"/>
                    </a:lnTo>
                    <a:lnTo>
                      <a:pt x="1510" y="0"/>
                    </a:lnTo>
                    <a:lnTo>
                      <a:pt x="1498" y="0"/>
                    </a:lnTo>
                    <a:lnTo>
                      <a:pt x="1494" y="1"/>
                    </a:lnTo>
                    <a:lnTo>
                      <a:pt x="1493" y="2"/>
                    </a:lnTo>
                    <a:lnTo>
                      <a:pt x="1493" y="2"/>
                    </a:lnTo>
                    <a:lnTo>
                      <a:pt x="1493" y="2"/>
                    </a:lnTo>
                    <a:lnTo>
                      <a:pt x="1493" y="3"/>
                    </a:lnTo>
                    <a:lnTo>
                      <a:pt x="1497" y="3"/>
                    </a:lnTo>
                    <a:lnTo>
                      <a:pt x="1510" y="6"/>
                    </a:lnTo>
                    <a:lnTo>
                      <a:pt x="1527" y="7"/>
                    </a:lnTo>
                    <a:lnTo>
                      <a:pt x="1541" y="9"/>
                    </a:lnTo>
                    <a:lnTo>
                      <a:pt x="1544" y="10"/>
                    </a:lnTo>
                    <a:lnTo>
                      <a:pt x="1547" y="11"/>
                    </a:lnTo>
                    <a:lnTo>
                      <a:pt x="1543" y="12"/>
                    </a:lnTo>
                    <a:lnTo>
                      <a:pt x="1537" y="14"/>
                    </a:lnTo>
                    <a:lnTo>
                      <a:pt x="1508" y="19"/>
                    </a:lnTo>
                    <a:lnTo>
                      <a:pt x="1453" y="24"/>
                    </a:lnTo>
                    <a:lnTo>
                      <a:pt x="1453" y="24"/>
                    </a:lnTo>
                    <a:lnTo>
                      <a:pt x="1389" y="30"/>
                    </a:lnTo>
                    <a:lnTo>
                      <a:pt x="1337" y="36"/>
                    </a:lnTo>
                    <a:lnTo>
                      <a:pt x="1296" y="41"/>
                    </a:lnTo>
                    <a:lnTo>
                      <a:pt x="1265" y="46"/>
                    </a:lnTo>
                    <a:lnTo>
                      <a:pt x="1245" y="52"/>
                    </a:lnTo>
                    <a:lnTo>
                      <a:pt x="1240" y="54"/>
                    </a:lnTo>
                    <a:lnTo>
                      <a:pt x="1237" y="56"/>
                    </a:lnTo>
                    <a:lnTo>
                      <a:pt x="1236" y="60"/>
                    </a:lnTo>
                    <a:lnTo>
                      <a:pt x="1238" y="62"/>
                    </a:lnTo>
                    <a:lnTo>
                      <a:pt x="1242" y="65"/>
                    </a:lnTo>
                    <a:lnTo>
                      <a:pt x="1249" y="67"/>
                    </a:lnTo>
                    <a:lnTo>
                      <a:pt x="1249" y="67"/>
                    </a:lnTo>
                    <a:lnTo>
                      <a:pt x="1259" y="71"/>
                    </a:lnTo>
                    <a:lnTo>
                      <a:pt x="1275" y="73"/>
                    </a:lnTo>
                    <a:lnTo>
                      <a:pt x="1321" y="77"/>
                    </a:lnTo>
                    <a:lnTo>
                      <a:pt x="1381" y="83"/>
                    </a:lnTo>
                    <a:lnTo>
                      <a:pt x="1445" y="87"/>
                    </a:lnTo>
                    <a:lnTo>
                      <a:pt x="1511" y="93"/>
                    </a:lnTo>
                    <a:lnTo>
                      <a:pt x="1571" y="97"/>
                    </a:lnTo>
                    <a:lnTo>
                      <a:pt x="1619" y="102"/>
                    </a:lnTo>
                    <a:lnTo>
                      <a:pt x="1637" y="106"/>
                    </a:lnTo>
                    <a:lnTo>
                      <a:pt x="1650" y="109"/>
                    </a:lnTo>
                    <a:lnTo>
                      <a:pt x="1650" y="109"/>
                    </a:lnTo>
                    <a:lnTo>
                      <a:pt x="1655" y="112"/>
                    </a:lnTo>
                    <a:lnTo>
                      <a:pt x="1656" y="113"/>
                    </a:lnTo>
                    <a:lnTo>
                      <a:pt x="1658" y="114"/>
                    </a:lnTo>
                    <a:lnTo>
                      <a:pt x="1658" y="114"/>
                    </a:lnTo>
                    <a:lnTo>
                      <a:pt x="1656" y="117"/>
                    </a:lnTo>
                    <a:lnTo>
                      <a:pt x="1655" y="119"/>
                    </a:lnTo>
                    <a:lnTo>
                      <a:pt x="1649" y="122"/>
                    </a:lnTo>
                    <a:lnTo>
                      <a:pt x="1640" y="125"/>
                    </a:lnTo>
                    <a:lnTo>
                      <a:pt x="1629" y="130"/>
                    </a:lnTo>
                    <a:lnTo>
                      <a:pt x="1598" y="136"/>
                    </a:lnTo>
                    <a:lnTo>
                      <a:pt x="1562" y="144"/>
                    </a:lnTo>
                    <a:lnTo>
                      <a:pt x="1482" y="158"/>
                    </a:lnTo>
                    <a:lnTo>
                      <a:pt x="1410" y="169"/>
                    </a:lnTo>
                    <a:lnTo>
                      <a:pt x="1410" y="169"/>
                    </a:lnTo>
                    <a:lnTo>
                      <a:pt x="1363" y="178"/>
                    </a:lnTo>
                    <a:lnTo>
                      <a:pt x="1318" y="188"/>
                    </a:lnTo>
                    <a:lnTo>
                      <a:pt x="1275" y="198"/>
                    </a:lnTo>
                    <a:lnTo>
                      <a:pt x="1237" y="209"/>
                    </a:lnTo>
                    <a:lnTo>
                      <a:pt x="1201" y="220"/>
                    </a:lnTo>
                    <a:lnTo>
                      <a:pt x="1185" y="227"/>
                    </a:lnTo>
                    <a:lnTo>
                      <a:pt x="1171" y="233"/>
                    </a:lnTo>
                    <a:lnTo>
                      <a:pt x="1156" y="241"/>
                    </a:lnTo>
                    <a:lnTo>
                      <a:pt x="1144" y="249"/>
                    </a:lnTo>
                    <a:lnTo>
                      <a:pt x="1134" y="256"/>
                    </a:lnTo>
                    <a:lnTo>
                      <a:pt x="1124" y="264"/>
                    </a:lnTo>
                    <a:lnTo>
                      <a:pt x="1124" y="264"/>
                    </a:lnTo>
                    <a:lnTo>
                      <a:pt x="1119" y="271"/>
                    </a:lnTo>
                    <a:lnTo>
                      <a:pt x="1116" y="276"/>
                    </a:lnTo>
                    <a:lnTo>
                      <a:pt x="1112" y="284"/>
                    </a:lnTo>
                    <a:lnTo>
                      <a:pt x="1111" y="291"/>
                    </a:lnTo>
                    <a:lnTo>
                      <a:pt x="1111" y="297"/>
                    </a:lnTo>
                    <a:lnTo>
                      <a:pt x="1111" y="301"/>
                    </a:lnTo>
                    <a:lnTo>
                      <a:pt x="1113" y="307"/>
                    </a:lnTo>
                    <a:lnTo>
                      <a:pt x="1116" y="312"/>
                    </a:lnTo>
                    <a:lnTo>
                      <a:pt x="1119" y="318"/>
                    </a:lnTo>
                    <a:lnTo>
                      <a:pt x="1123" y="324"/>
                    </a:lnTo>
                    <a:lnTo>
                      <a:pt x="1129" y="330"/>
                    </a:lnTo>
                    <a:lnTo>
                      <a:pt x="1137" y="337"/>
                    </a:lnTo>
                    <a:lnTo>
                      <a:pt x="1144" y="343"/>
                    </a:lnTo>
                    <a:lnTo>
                      <a:pt x="1154" y="350"/>
                    </a:lnTo>
                    <a:lnTo>
                      <a:pt x="1166" y="356"/>
                    </a:lnTo>
                    <a:lnTo>
                      <a:pt x="1179" y="363"/>
                    </a:lnTo>
                    <a:lnTo>
                      <a:pt x="1195" y="371"/>
                    </a:lnTo>
                    <a:lnTo>
                      <a:pt x="1212" y="377"/>
                    </a:lnTo>
                    <a:lnTo>
                      <a:pt x="1232" y="384"/>
                    </a:lnTo>
                    <a:lnTo>
                      <a:pt x="1254" y="391"/>
                    </a:lnTo>
                    <a:lnTo>
                      <a:pt x="1277" y="398"/>
                    </a:lnTo>
                    <a:lnTo>
                      <a:pt x="1304" y="406"/>
                    </a:lnTo>
                    <a:lnTo>
                      <a:pt x="1333" y="412"/>
                    </a:lnTo>
                    <a:lnTo>
                      <a:pt x="1365" y="419"/>
                    </a:lnTo>
                    <a:lnTo>
                      <a:pt x="1437" y="433"/>
                    </a:lnTo>
                    <a:lnTo>
                      <a:pt x="1437" y="433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1BB53DA0-1E2C-4A8D-90AF-B0F6F3F6FA69}"/>
                  </a:ext>
                </a:extLst>
              </p:cNvPr>
              <p:cNvSpPr/>
              <p:nvPr/>
            </p:nvSpPr>
            <p:spPr bwMode="auto">
              <a:xfrm>
                <a:off x="3899693" y="2428874"/>
                <a:ext cx="3375025" cy="3717925"/>
              </a:xfrm>
              <a:custGeom>
                <a:avLst/>
                <a:gdLst>
                  <a:gd name="T0" fmla="*/ 338 w 2126"/>
                  <a:gd name="T1" fmla="*/ 2178 h 2342"/>
                  <a:gd name="T2" fmla="*/ 960 w 2126"/>
                  <a:gd name="T3" fmla="*/ 1742 h 2342"/>
                  <a:gd name="T4" fmla="*/ 1561 w 2126"/>
                  <a:gd name="T5" fmla="*/ 1329 h 2342"/>
                  <a:gd name="T6" fmla="*/ 1855 w 2126"/>
                  <a:gd name="T7" fmla="*/ 1100 h 2342"/>
                  <a:gd name="T8" fmla="*/ 1994 w 2126"/>
                  <a:gd name="T9" fmla="*/ 976 h 2342"/>
                  <a:gd name="T10" fmla="*/ 2094 w 2126"/>
                  <a:gd name="T11" fmla="*/ 853 h 2342"/>
                  <a:gd name="T12" fmla="*/ 2118 w 2126"/>
                  <a:gd name="T13" fmla="*/ 799 h 2342"/>
                  <a:gd name="T14" fmla="*/ 2124 w 2126"/>
                  <a:gd name="T15" fmla="*/ 718 h 2342"/>
                  <a:gd name="T16" fmla="*/ 2099 w 2126"/>
                  <a:gd name="T17" fmla="*/ 645 h 2342"/>
                  <a:gd name="T18" fmla="*/ 2047 w 2126"/>
                  <a:gd name="T19" fmla="*/ 582 h 2342"/>
                  <a:gd name="T20" fmla="*/ 1982 w 2126"/>
                  <a:gd name="T21" fmla="*/ 538 h 2342"/>
                  <a:gd name="T22" fmla="*/ 1890 w 2126"/>
                  <a:gd name="T23" fmla="*/ 499 h 2342"/>
                  <a:gd name="T24" fmla="*/ 1739 w 2126"/>
                  <a:gd name="T25" fmla="*/ 452 h 2342"/>
                  <a:gd name="T26" fmla="*/ 1430 w 2126"/>
                  <a:gd name="T27" fmla="*/ 389 h 2342"/>
                  <a:gd name="T28" fmla="*/ 1236 w 2126"/>
                  <a:gd name="T29" fmla="*/ 348 h 2342"/>
                  <a:gd name="T30" fmla="*/ 1135 w 2126"/>
                  <a:gd name="T31" fmla="*/ 310 h 2342"/>
                  <a:gd name="T32" fmla="*/ 1092 w 2126"/>
                  <a:gd name="T33" fmla="*/ 281 h 2342"/>
                  <a:gd name="T34" fmla="*/ 1079 w 2126"/>
                  <a:gd name="T35" fmla="*/ 253 h 2342"/>
                  <a:gd name="T36" fmla="*/ 1097 w 2126"/>
                  <a:gd name="T37" fmla="*/ 226 h 2342"/>
                  <a:gd name="T38" fmla="*/ 1160 w 2126"/>
                  <a:gd name="T39" fmla="*/ 194 h 2342"/>
                  <a:gd name="T40" fmla="*/ 1300 w 2126"/>
                  <a:gd name="T41" fmla="*/ 153 h 2342"/>
                  <a:gd name="T42" fmla="*/ 1552 w 2126"/>
                  <a:gd name="T43" fmla="*/ 105 h 2342"/>
                  <a:gd name="T44" fmla="*/ 1607 w 2126"/>
                  <a:gd name="T45" fmla="*/ 89 h 2342"/>
                  <a:gd name="T46" fmla="*/ 1612 w 2126"/>
                  <a:gd name="T47" fmla="*/ 71 h 2342"/>
                  <a:gd name="T48" fmla="*/ 1551 w 2126"/>
                  <a:gd name="T49" fmla="*/ 58 h 2342"/>
                  <a:gd name="T50" fmla="*/ 1345 w 2126"/>
                  <a:gd name="T51" fmla="*/ 44 h 2342"/>
                  <a:gd name="T52" fmla="*/ 1208 w 2126"/>
                  <a:gd name="T53" fmla="*/ 29 h 2342"/>
                  <a:gd name="T54" fmla="*/ 1195 w 2126"/>
                  <a:gd name="T55" fmla="*/ 16 h 2342"/>
                  <a:gd name="T56" fmla="*/ 1241 w 2126"/>
                  <a:gd name="T57" fmla="*/ 5 h 2342"/>
                  <a:gd name="T58" fmla="*/ 1241 w 2126"/>
                  <a:gd name="T59" fmla="*/ 5 h 2342"/>
                  <a:gd name="T60" fmla="*/ 1194 w 2126"/>
                  <a:gd name="T61" fmla="*/ 16 h 2342"/>
                  <a:gd name="T62" fmla="*/ 1201 w 2126"/>
                  <a:gd name="T63" fmla="*/ 28 h 2342"/>
                  <a:gd name="T64" fmla="*/ 1275 w 2126"/>
                  <a:gd name="T65" fmla="*/ 39 h 2342"/>
                  <a:gd name="T66" fmla="*/ 1502 w 2126"/>
                  <a:gd name="T67" fmla="*/ 57 h 2342"/>
                  <a:gd name="T68" fmla="*/ 1604 w 2126"/>
                  <a:gd name="T69" fmla="*/ 71 h 2342"/>
                  <a:gd name="T70" fmla="*/ 1608 w 2126"/>
                  <a:gd name="T71" fmla="*/ 82 h 2342"/>
                  <a:gd name="T72" fmla="*/ 1579 w 2126"/>
                  <a:gd name="T73" fmla="*/ 94 h 2342"/>
                  <a:gd name="T74" fmla="*/ 1330 w 2126"/>
                  <a:gd name="T75" fmla="*/ 140 h 2342"/>
                  <a:gd name="T76" fmla="*/ 1195 w 2126"/>
                  <a:gd name="T77" fmla="*/ 172 h 2342"/>
                  <a:gd name="T78" fmla="*/ 1103 w 2126"/>
                  <a:gd name="T79" fmla="*/ 209 h 2342"/>
                  <a:gd name="T80" fmla="*/ 1070 w 2126"/>
                  <a:gd name="T81" fmla="*/ 244 h 2342"/>
                  <a:gd name="T82" fmla="*/ 1073 w 2126"/>
                  <a:gd name="T83" fmla="*/ 274 h 2342"/>
                  <a:gd name="T84" fmla="*/ 1103 w 2126"/>
                  <a:gd name="T85" fmla="*/ 303 h 2342"/>
                  <a:gd name="T86" fmla="*/ 1198 w 2126"/>
                  <a:gd name="T87" fmla="*/ 348 h 2342"/>
                  <a:gd name="T88" fmla="*/ 1335 w 2126"/>
                  <a:gd name="T89" fmla="*/ 381 h 2342"/>
                  <a:gd name="T90" fmla="*/ 1575 w 2126"/>
                  <a:gd name="T91" fmla="*/ 428 h 2342"/>
                  <a:gd name="T92" fmla="*/ 1735 w 2126"/>
                  <a:gd name="T93" fmla="*/ 469 h 2342"/>
                  <a:gd name="T94" fmla="*/ 1881 w 2126"/>
                  <a:gd name="T95" fmla="*/ 523 h 2342"/>
                  <a:gd name="T96" fmla="*/ 1999 w 2126"/>
                  <a:gd name="T97" fmla="*/ 585 h 2342"/>
                  <a:gd name="T98" fmla="*/ 2041 w 2126"/>
                  <a:gd name="T99" fmla="*/ 626 h 2342"/>
                  <a:gd name="T100" fmla="*/ 2076 w 2126"/>
                  <a:gd name="T101" fmla="*/ 683 h 2342"/>
                  <a:gd name="T102" fmla="*/ 2085 w 2126"/>
                  <a:gd name="T103" fmla="*/ 747 h 2342"/>
                  <a:gd name="T104" fmla="*/ 2073 w 2126"/>
                  <a:gd name="T105" fmla="*/ 798 h 2342"/>
                  <a:gd name="T106" fmla="*/ 2021 w 2126"/>
                  <a:gd name="T107" fmla="*/ 881 h 2342"/>
                  <a:gd name="T108" fmla="*/ 1916 w 2126"/>
                  <a:gd name="T109" fmla="*/ 991 h 2342"/>
                  <a:gd name="T110" fmla="*/ 1706 w 2126"/>
                  <a:gd name="T111" fmla="*/ 1167 h 2342"/>
                  <a:gd name="T112" fmla="*/ 1230 w 2126"/>
                  <a:gd name="T113" fmla="*/ 1500 h 2342"/>
                  <a:gd name="T114" fmla="*/ 423 w 2126"/>
                  <a:gd name="T115" fmla="*/ 2045 h 2342"/>
                  <a:gd name="T116" fmla="*/ 0 w 2126"/>
                  <a:gd name="T117" fmla="*/ 2342 h 2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126" h="2342">
                    <a:moveTo>
                      <a:pt x="112" y="2342"/>
                    </a:moveTo>
                    <a:lnTo>
                      <a:pt x="112" y="2342"/>
                    </a:lnTo>
                    <a:lnTo>
                      <a:pt x="190" y="2285"/>
                    </a:lnTo>
                    <a:lnTo>
                      <a:pt x="190" y="2285"/>
                    </a:lnTo>
                    <a:lnTo>
                      <a:pt x="338" y="2178"/>
                    </a:lnTo>
                    <a:lnTo>
                      <a:pt x="455" y="2095"/>
                    </a:lnTo>
                    <a:lnTo>
                      <a:pt x="569" y="2014"/>
                    </a:lnTo>
                    <a:lnTo>
                      <a:pt x="703" y="1922"/>
                    </a:lnTo>
                    <a:lnTo>
                      <a:pt x="960" y="1742"/>
                    </a:lnTo>
                    <a:lnTo>
                      <a:pt x="960" y="1742"/>
                    </a:lnTo>
                    <a:lnTo>
                      <a:pt x="1156" y="1607"/>
                    </a:lnTo>
                    <a:lnTo>
                      <a:pt x="1294" y="1512"/>
                    </a:lnTo>
                    <a:lnTo>
                      <a:pt x="1455" y="1403"/>
                    </a:lnTo>
                    <a:lnTo>
                      <a:pt x="1507" y="1367"/>
                    </a:lnTo>
                    <a:lnTo>
                      <a:pt x="1561" y="1329"/>
                    </a:lnTo>
                    <a:lnTo>
                      <a:pt x="1630" y="1276"/>
                    </a:lnTo>
                    <a:lnTo>
                      <a:pt x="1732" y="1199"/>
                    </a:lnTo>
                    <a:lnTo>
                      <a:pt x="1732" y="1199"/>
                    </a:lnTo>
                    <a:lnTo>
                      <a:pt x="1792" y="1150"/>
                    </a:lnTo>
                    <a:lnTo>
                      <a:pt x="1855" y="1100"/>
                    </a:lnTo>
                    <a:lnTo>
                      <a:pt x="1916" y="1048"/>
                    </a:lnTo>
                    <a:lnTo>
                      <a:pt x="1946" y="1022"/>
                    </a:lnTo>
                    <a:lnTo>
                      <a:pt x="1973" y="995"/>
                    </a:lnTo>
                    <a:lnTo>
                      <a:pt x="1973" y="995"/>
                    </a:lnTo>
                    <a:lnTo>
                      <a:pt x="1994" y="976"/>
                    </a:lnTo>
                    <a:lnTo>
                      <a:pt x="2016" y="953"/>
                    </a:lnTo>
                    <a:lnTo>
                      <a:pt x="2038" y="929"/>
                    </a:lnTo>
                    <a:lnTo>
                      <a:pt x="2059" y="904"/>
                    </a:lnTo>
                    <a:lnTo>
                      <a:pt x="2078" y="879"/>
                    </a:lnTo>
                    <a:lnTo>
                      <a:pt x="2094" y="853"/>
                    </a:lnTo>
                    <a:lnTo>
                      <a:pt x="2102" y="839"/>
                    </a:lnTo>
                    <a:lnTo>
                      <a:pt x="2109" y="825"/>
                    </a:lnTo>
                    <a:lnTo>
                      <a:pt x="2114" y="812"/>
                    </a:lnTo>
                    <a:lnTo>
                      <a:pt x="2118" y="799"/>
                    </a:lnTo>
                    <a:lnTo>
                      <a:pt x="2118" y="799"/>
                    </a:lnTo>
                    <a:lnTo>
                      <a:pt x="2123" y="782"/>
                    </a:lnTo>
                    <a:lnTo>
                      <a:pt x="2125" y="767"/>
                    </a:lnTo>
                    <a:lnTo>
                      <a:pt x="2126" y="750"/>
                    </a:lnTo>
                    <a:lnTo>
                      <a:pt x="2126" y="734"/>
                    </a:lnTo>
                    <a:lnTo>
                      <a:pt x="2124" y="718"/>
                    </a:lnTo>
                    <a:lnTo>
                      <a:pt x="2122" y="703"/>
                    </a:lnTo>
                    <a:lnTo>
                      <a:pt x="2117" y="688"/>
                    </a:lnTo>
                    <a:lnTo>
                      <a:pt x="2113" y="673"/>
                    </a:lnTo>
                    <a:lnTo>
                      <a:pt x="2106" y="659"/>
                    </a:lnTo>
                    <a:lnTo>
                      <a:pt x="2099" y="645"/>
                    </a:lnTo>
                    <a:lnTo>
                      <a:pt x="2090" y="630"/>
                    </a:lnTo>
                    <a:lnTo>
                      <a:pt x="2081" y="617"/>
                    </a:lnTo>
                    <a:lnTo>
                      <a:pt x="2070" y="605"/>
                    </a:lnTo>
                    <a:lnTo>
                      <a:pt x="2059" y="593"/>
                    </a:lnTo>
                    <a:lnTo>
                      <a:pt x="2047" y="582"/>
                    </a:lnTo>
                    <a:lnTo>
                      <a:pt x="2034" y="571"/>
                    </a:lnTo>
                    <a:lnTo>
                      <a:pt x="2034" y="571"/>
                    </a:lnTo>
                    <a:lnTo>
                      <a:pt x="2017" y="559"/>
                    </a:lnTo>
                    <a:lnTo>
                      <a:pt x="2000" y="548"/>
                    </a:lnTo>
                    <a:lnTo>
                      <a:pt x="1982" y="538"/>
                    </a:lnTo>
                    <a:lnTo>
                      <a:pt x="1963" y="529"/>
                    </a:lnTo>
                    <a:lnTo>
                      <a:pt x="1946" y="521"/>
                    </a:lnTo>
                    <a:lnTo>
                      <a:pt x="1927" y="513"/>
                    </a:lnTo>
                    <a:lnTo>
                      <a:pt x="1890" y="499"/>
                    </a:lnTo>
                    <a:lnTo>
                      <a:pt x="1890" y="499"/>
                    </a:lnTo>
                    <a:lnTo>
                      <a:pt x="1862" y="489"/>
                    </a:lnTo>
                    <a:lnTo>
                      <a:pt x="1829" y="478"/>
                    </a:lnTo>
                    <a:lnTo>
                      <a:pt x="1790" y="466"/>
                    </a:lnTo>
                    <a:lnTo>
                      <a:pt x="1739" y="452"/>
                    </a:lnTo>
                    <a:lnTo>
                      <a:pt x="1739" y="452"/>
                    </a:lnTo>
                    <a:lnTo>
                      <a:pt x="1646" y="430"/>
                    </a:lnTo>
                    <a:lnTo>
                      <a:pt x="1574" y="415"/>
                    </a:lnTo>
                    <a:lnTo>
                      <a:pt x="1507" y="402"/>
                    </a:lnTo>
                    <a:lnTo>
                      <a:pt x="1430" y="389"/>
                    </a:lnTo>
                    <a:lnTo>
                      <a:pt x="1430" y="389"/>
                    </a:lnTo>
                    <a:lnTo>
                      <a:pt x="1391" y="382"/>
                    </a:lnTo>
                    <a:lnTo>
                      <a:pt x="1336" y="371"/>
                    </a:lnTo>
                    <a:lnTo>
                      <a:pt x="1304" y="364"/>
                    </a:lnTo>
                    <a:lnTo>
                      <a:pt x="1271" y="357"/>
                    </a:lnTo>
                    <a:lnTo>
                      <a:pt x="1236" y="348"/>
                    </a:lnTo>
                    <a:lnTo>
                      <a:pt x="1202" y="337"/>
                    </a:lnTo>
                    <a:lnTo>
                      <a:pt x="1202" y="337"/>
                    </a:lnTo>
                    <a:lnTo>
                      <a:pt x="1175" y="328"/>
                    </a:lnTo>
                    <a:lnTo>
                      <a:pt x="1148" y="316"/>
                    </a:lnTo>
                    <a:lnTo>
                      <a:pt x="1135" y="310"/>
                    </a:lnTo>
                    <a:lnTo>
                      <a:pt x="1121" y="302"/>
                    </a:lnTo>
                    <a:lnTo>
                      <a:pt x="1109" y="294"/>
                    </a:lnTo>
                    <a:lnTo>
                      <a:pt x="1098" y="286"/>
                    </a:lnTo>
                    <a:lnTo>
                      <a:pt x="1098" y="286"/>
                    </a:lnTo>
                    <a:lnTo>
                      <a:pt x="1092" y="281"/>
                    </a:lnTo>
                    <a:lnTo>
                      <a:pt x="1087" y="275"/>
                    </a:lnTo>
                    <a:lnTo>
                      <a:pt x="1083" y="270"/>
                    </a:lnTo>
                    <a:lnTo>
                      <a:pt x="1081" y="264"/>
                    </a:lnTo>
                    <a:lnTo>
                      <a:pt x="1079" y="259"/>
                    </a:lnTo>
                    <a:lnTo>
                      <a:pt x="1079" y="253"/>
                    </a:lnTo>
                    <a:lnTo>
                      <a:pt x="1080" y="249"/>
                    </a:lnTo>
                    <a:lnTo>
                      <a:pt x="1081" y="245"/>
                    </a:lnTo>
                    <a:lnTo>
                      <a:pt x="1084" y="239"/>
                    </a:lnTo>
                    <a:lnTo>
                      <a:pt x="1087" y="235"/>
                    </a:lnTo>
                    <a:lnTo>
                      <a:pt x="1097" y="226"/>
                    </a:lnTo>
                    <a:lnTo>
                      <a:pt x="1110" y="217"/>
                    </a:lnTo>
                    <a:lnTo>
                      <a:pt x="1126" y="208"/>
                    </a:lnTo>
                    <a:lnTo>
                      <a:pt x="1126" y="208"/>
                    </a:lnTo>
                    <a:lnTo>
                      <a:pt x="1141" y="202"/>
                    </a:lnTo>
                    <a:lnTo>
                      <a:pt x="1160" y="194"/>
                    </a:lnTo>
                    <a:lnTo>
                      <a:pt x="1198" y="181"/>
                    </a:lnTo>
                    <a:lnTo>
                      <a:pt x="1238" y="169"/>
                    </a:lnTo>
                    <a:lnTo>
                      <a:pt x="1273" y="160"/>
                    </a:lnTo>
                    <a:lnTo>
                      <a:pt x="1273" y="160"/>
                    </a:lnTo>
                    <a:lnTo>
                      <a:pt x="1300" y="153"/>
                    </a:lnTo>
                    <a:lnTo>
                      <a:pt x="1330" y="148"/>
                    </a:lnTo>
                    <a:lnTo>
                      <a:pt x="1427" y="129"/>
                    </a:lnTo>
                    <a:lnTo>
                      <a:pt x="1504" y="115"/>
                    </a:lnTo>
                    <a:lnTo>
                      <a:pt x="1504" y="115"/>
                    </a:lnTo>
                    <a:lnTo>
                      <a:pt x="1552" y="105"/>
                    </a:lnTo>
                    <a:lnTo>
                      <a:pt x="1580" y="98"/>
                    </a:lnTo>
                    <a:lnTo>
                      <a:pt x="1592" y="95"/>
                    </a:lnTo>
                    <a:lnTo>
                      <a:pt x="1601" y="92"/>
                    </a:lnTo>
                    <a:lnTo>
                      <a:pt x="1601" y="92"/>
                    </a:lnTo>
                    <a:lnTo>
                      <a:pt x="1607" y="89"/>
                    </a:lnTo>
                    <a:lnTo>
                      <a:pt x="1612" y="84"/>
                    </a:lnTo>
                    <a:lnTo>
                      <a:pt x="1615" y="81"/>
                    </a:lnTo>
                    <a:lnTo>
                      <a:pt x="1616" y="78"/>
                    </a:lnTo>
                    <a:lnTo>
                      <a:pt x="1615" y="74"/>
                    </a:lnTo>
                    <a:lnTo>
                      <a:pt x="1612" y="71"/>
                    </a:lnTo>
                    <a:lnTo>
                      <a:pt x="1607" y="68"/>
                    </a:lnTo>
                    <a:lnTo>
                      <a:pt x="1600" y="65"/>
                    </a:lnTo>
                    <a:lnTo>
                      <a:pt x="1600" y="65"/>
                    </a:lnTo>
                    <a:lnTo>
                      <a:pt x="1579" y="61"/>
                    </a:lnTo>
                    <a:lnTo>
                      <a:pt x="1551" y="58"/>
                    </a:lnTo>
                    <a:lnTo>
                      <a:pt x="1502" y="53"/>
                    </a:lnTo>
                    <a:lnTo>
                      <a:pt x="1502" y="53"/>
                    </a:lnTo>
                    <a:lnTo>
                      <a:pt x="1424" y="48"/>
                    </a:lnTo>
                    <a:lnTo>
                      <a:pt x="1345" y="44"/>
                    </a:lnTo>
                    <a:lnTo>
                      <a:pt x="1345" y="44"/>
                    </a:lnTo>
                    <a:lnTo>
                      <a:pt x="1275" y="38"/>
                    </a:lnTo>
                    <a:lnTo>
                      <a:pt x="1237" y="35"/>
                    </a:lnTo>
                    <a:lnTo>
                      <a:pt x="1220" y="33"/>
                    </a:lnTo>
                    <a:lnTo>
                      <a:pt x="1208" y="29"/>
                    </a:lnTo>
                    <a:lnTo>
                      <a:pt x="1208" y="29"/>
                    </a:lnTo>
                    <a:lnTo>
                      <a:pt x="1195" y="25"/>
                    </a:lnTo>
                    <a:lnTo>
                      <a:pt x="1192" y="23"/>
                    </a:lnTo>
                    <a:lnTo>
                      <a:pt x="1191" y="20"/>
                    </a:lnTo>
                    <a:lnTo>
                      <a:pt x="1192" y="18"/>
                    </a:lnTo>
                    <a:lnTo>
                      <a:pt x="1195" y="16"/>
                    </a:lnTo>
                    <a:lnTo>
                      <a:pt x="1201" y="14"/>
                    </a:lnTo>
                    <a:lnTo>
                      <a:pt x="1208" y="12"/>
                    </a:lnTo>
                    <a:lnTo>
                      <a:pt x="1208" y="12"/>
                    </a:lnTo>
                    <a:lnTo>
                      <a:pt x="1224" y="8"/>
                    </a:lnTo>
                    <a:lnTo>
                      <a:pt x="1241" y="5"/>
                    </a:lnTo>
                    <a:lnTo>
                      <a:pt x="1275" y="1"/>
                    </a:lnTo>
                    <a:lnTo>
                      <a:pt x="1286" y="0"/>
                    </a:lnTo>
                    <a:lnTo>
                      <a:pt x="1275" y="1"/>
                    </a:lnTo>
                    <a:lnTo>
                      <a:pt x="1275" y="1"/>
                    </a:lnTo>
                    <a:lnTo>
                      <a:pt x="1241" y="5"/>
                    </a:lnTo>
                    <a:lnTo>
                      <a:pt x="1224" y="8"/>
                    </a:lnTo>
                    <a:lnTo>
                      <a:pt x="1208" y="12"/>
                    </a:lnTo>
                    <a:lnTo>
                      <a:pt x="1208" y="12"/>
                    </a:lnTo>
                    <a:lnTo>
                      <a:pt x="1201" y="14"/>
                    </a:lnTo>
                    <a:lnTo>
                      <a:pt x="1194" y="16"/>
                    </a:lnTo>
                    <a:lnTo>
                      <a:pt x="1191" y="18"/>
                    </a:lnTo>
                    <a:lnTo>
                      <a:pt x="1190" y="20"/>
                    </a:lnTo>
                    <a:lnTo>
                      <a:pt x="1191" y="23"/>
                    </a:lnTo>
                    <a:lnTo>
                      <a:pt x="1195" y="26"/>
                    </a:lnTo>
                    <a:lnTo>
                      <a:pt x="1201" y="28"/>
                    </a:lnTo>
                    <a:lnTo>
                      <a:pt x="1208" y="30"/>
                    </a:lnTo>
                    <a:lnTo>
                      <a:pt x="1208" y="30"/>
                    </a:lnTo>
                    <a:lnTo>
                      <a:pt x="1220" y="33"/>
                    </a:lnTo>
                    <a:lnTo>
                      <a:pt x="1237" y="35"/>
                    </a:lnTo>
                    <a:lnTo>
                      <a:pt x="1275" y="39"/>
                    </a:lnTo>
                    <a:lnTo>
                      <a:pt x="1345" y="45"/>
                    </a:lnTo>
                    <a:lnTo>
                      <a:pt x="1423" y="50"/>
                    </a:lnTo>
                    <a:lnTo>
                      <a:pt x="1423" y="50"/>
                    </a:lnTo>
                    <a:lnTo>
                      <a:pt x="1502" y="57"/>
                    </a:lnTo>
                    <a:lnTo>
                      <a:pt x="1502" y="57"/>
                    </a:lnTo>
                    <a:lnTo>
                      <a:pt x="1550" y="61"/>
                    </a:lnTo>
                    <a:lnTo>
                      <a:pt x="1578" y="65"/>
                    </a:lnTo>
                    <a:lnTo>
                      <a:pt x="1599" y="69"/>
                    </a:lnTo>
                    <a:lnTo>
                      <a:pt x="1599" y="69"/>
                    </a:lnTo>
                    <a:lnTo>
                      <a:pt x="1604" y="71"/>
                    </a:lnTo>
                    <a:lnTo>
                      <a:pt x="1608" y="73"/>
                    </a:lnTo>
                    <a:lnTo>
                      <a:pt x="1611" y="75"/>
                    </a:lnTo>
                    <a:lnTo>
                      <a:pt x="1612" y="78"/>
                    </a:lnTo>
                    <a:lnTo>
                      <a:pt x="1611" y="80"/>
                    </a:lnTo>
                    <a:lnTo>
                      <a:pt x="1608" y="82"/>
                    </a:lnTo>
                    <a:lnTo>
                      <a:pt x="1604" y="85"/>
                    </a:lnTo>
                    <a:lnTo>
                      <a:pt x="1599" y="87"/>
                    </a:lnTo>
                    <a:lnTo>
                      <a:pt x="1599" y="87"/>
                    </a:lnTo>
                    <a:lnTo>
                      <a:pt x="1590" y="91"/>
                    </a:lnTo>
                    <a:lnTo>
                      <a:pt x="1579" y="94"/>
                    </a:lnTo>
                    <a:lnTo>
                      <a:pt x="1551" y="101"/>
                    </a:lnTo>
                    <a:lnTo>
                      <a:pt x="1504" y="109"/>
                    </a:lnTo>
                    <a:lnTo>
                      <a:pt x="1426" y="123"/>
                    </a:lnTo>
                    <a:lnTo>
                      <a:pt x="1426" y="123"/>
                    </a:lnTo>
                    <a:lnTo>
                      <a:pt x="1330" y="140"/>
                    </a:lnTo>
                    <a:lnTo>
                      <a:pt x="1300" y="146"/>
                    </a:lnTo>
                    <a:lnTo>
                      <a:pt x="1272" y="152"/>
                    </a:lnTo>
                    <a:lnTo>
                      <a:pt x="1272" y="152"/>
                    </a:lnTo>
                    <a:lnTo>
                      <a:pt x="1235" y="161"/>
                    </a:lnTo>
                    <a:lnTo>
                      <a:pt x="1195" y="172"/>
                    </a:lnTo>
                    <a:lnTo>
                      <a:pt x="1156" y="185"/>
                    </a:lnTo>
                    <a:lnTo>
                      <a:pt x="1138" y="192"/>
                    </a:lnTo>
                    <a:lnTo>
                      <a:pt x="1121" y="200"/>
                    </a:lnTo>
                    <a:lnTo>
                      <a:pt x="1121" y="200"/>
                    </a:lnTo>
                    <a:lnTo>
                      <a:pt x="1103" y="209"/>
                    </a:lnTo>
                    <a:lnTo>
                      <a:pt x="1088" y="220"/>
                    </a:lnTo>
                    <a:lnTo>
                      <a:pt x="1082" y="226"/>
                    </a:lnTo>
                    <a:lnTo>
                      <a:pt x="1077" y="231"/>
                    </a:lnTo>
                    <a:lnTo>
                      <a:pt x="1073" y="237"/>
                    </a:lnTo>
                    <a:lnTo>
                      <a:pt x="1070" y="244"/>
                    </a:lnTo>
                    <a:lnTo>
                      <a:pt x="1069" y="249"/>
                    </a:lnTo>
                    <a:lnTo>
                      <a:pt x="1068" y="256"/>
                    </a:lnTo>
                    <a:lnTo>
                      <a:pt x="1069" y="262"/>
                    </a:lnTo>
                    <a:lnTo>
                      <a:pt x="1070" y="268"/>
                    </a:lnTo>
                    <a:lnTo>
                      <a:pt x="1073" y="274"/>
                    </a:lnTo>
                    <a:lnTo>
                      <a:pt x="1077" y="281"/>
                    </a:lnTo>
                    <a:lnTo>
                      <a:pt x="1084" y="288"/>
                    </a:lnTo>
                    <a:lnTo>
                      <a:pt x="1092" y="295"/>
                    </a:lnTo>
                    <a:lnTo>
                      <a:pt x="1092" y="295"/>
                    </a:lnTo>
                    <a:lnTo>
                      <a:pt x="1103" y="303"/>
                    </a:lnTo>
                    <a:lnTo>
                      <a:pt x="1115" y="311"/>
                    </a:lnTo>
                    <a:lnTo>
                      <a:pt x="1129" y="318"/>
                    </a:lnTo>
                    <a:lnTo>
                      <a:pt x="1143" y="326"/>
                    </a:lnTo>
                    <a:lnTo>
                      <a:pt x="1172" y="338"/>
                    </a:lnTo>
                    <a:lnTo>
                      <a:pt x="1198" y="348"/>
                    </a:lnTo>
                    <a:lnTo>
                      <a:pt x="1198" y="348"/>
                    </a:lnTo>
                    <a:lnTo>
                      <a:pt x="1232" y="358"/>
                    </a:lnTo>
                    <a:lnTo>
                      <a:pt x="1268" y="367"/>
                    </a:lnTo>
                    <a:lnTo>
                      <a:pt x="1302" y="374"/>
                    </a:lnTo>
                    <a:lnTo>
                      <a:pt x="1335" y="381"/>
                    </a:lnTo>
                    <a:lnTo>
                      <a:pt x="1391" y="392"/>
                    </a:lnTo>
                    <a:lnTo>
                      <a:pt x="1429" y="399"/>
                    </a:lnTo>
                    <a:lnTo>
                      <a:pt x="1429" y="399"/>
                    </a:lnTo>
                    <a:lnTo>
                      <a:pt x="1505" y="414"/>
                    </a:lnTo>
                    <a:lnTo>
                      <a:pt x="1575" y="428"/>
                    </a:lnTo>
                    <a:lnTo>
                      <a:pt x="1612" y="437"/>
                    </a:lnTo>
                    <a:lnTo>
                      <a:pt x="1649" y="446"/>
                    </a:lnTo>
                    <a:lnTo>
                      <a:pt x="1690" y="457"/>
                    </a:lnTo>
                    <a:lnTo>
                      <a:pt x="1735" y="469"/>
                    </a:lnTo>
                    <a:lnTo>
                      <a:pt x="1735" y="469"/>
                    </a:lnTo>
                    <a:lnTo>
                      <a:pt x="1781" y="483"/>
                    </a:lnTo>
                    <a:lnTo>
                      <a:pt x="1819" y="497"/>
                    </a:lnTo>
                    <a:lnTo>
                      <a:pt x="1851" y="510"/>
                    </a:lnTo>
                    <a:lnTo>
                      <a:pt x="1881" y="523"/>
                    </a:lnTo>
                    <a:lnTo>
                      <a:pt x="1881" y="523"/>
                    </a:lnTo>
                    <a:lnTo>
                      <a:pt x="1916" y="538"/>
                    </a:lnTo>
                    <a:lnTo>
                      <a:pt x="1950" y="556"/>
                    </a:lnTo>
                    <a:lnTo>
                      <a:pt x="1967" y="565"/>
                    </a:lnTo>
                    <a:lnTo>
                      <a:pt x="1983" y="574"/>
                    </a:lnTo>
                    <a:lnTo>
                      <a:pt x="1999" y="585"/>
                    </a:lnTo>
                    <a:lnTo>
                      <a:pt x="2013" y="598"/>
                    </a:lnTo>
                    <a:lnTo>
                      <a:pt x="2013" y="598"/>
                    </a:lnTo>
                    <a:lnTo>
                      <a:pt x="2023" y="606"/>
                    </a:lnTo>
                    <a:lnTo>
                      <a:pt x="2033" y="616"/>
                    </a:lnTo>
                    <a:lnTo>
                      <a:pt x="2041" y="626"/>
                    </a:lnTo>
                    <a:lnTo>
                      <a:pt x="2050" y="637"/>
                    </a:lnTo>
                    <a:lnTo>
                      <a:pt x="2058" y="648"/>
                    </a:lnTo>
                    <a:lnTo>
                      <a:pt x="2065" y="660"/>
                    </a:lnTo>
                    <a:lnTo>
                      <a:pt x="2070" y="671"/>
                    </a:lnTo>
                    <a:lnTo>
                      <a:pt x="2076" y="683"/>
                    </a:lnTo>
                    <a:lnTo>
                      <a:pt x="2079" y="695"/>
                    </a:lnTo>
                    <a:lnTo>
                      <a:pt x="2082" y="709"/>
                    </a:lnTo>
                    <a:lnTo>
                      <a:pt x="2084" y="721"/>
                    </a:lnTo>
                    <a:lnTo>
                      <a:pt x="2085" y="734"/>
                    </a:lnTo>
                    <a:lnTo>
                      <a:pt x="2085" y="747"/>
                    </a:lnTo>
                    <a:lnTo>
                      <a:pt x="2083" y="760"/>
                    </a:lnTo>
                    <a:lnTo>
                      <a:pt x="2081" y="773"/>
                    </a:lnTo>
                    <a:lnTo>
                      <a:pt x="2078" y="787"/>
                    </a:lnTo>
                    <a:lnTo>
                      <a:pt x="2078" y="787"/>
                    </a:lnTo>
                    <a:lnTo>
                      <a:pt x="2073" y="798"/>
                    </a:lnTo>
                    <a:lnTo>
                      <a:pt x="2068" y="810"/>
                    </a:lnTo>
                    <a:lnTo>
                      <a:pt x="2062" y="822"/>
                    </a:lnTo>
                    <a:lnTo>
                      <a:pt x="2055" y="834"/>
                    </a:lnTo>
                    <a:lnTo>
                      <a:pt x="2038" y="858"/>
                    </a:lnTo>
                    <a:lnTo>
                      <a:pt x="2021" y="881"/>
                    </a:lnTo>
                    <a:lnTo>
                      <a:pt x="2001" y="905"/>
                    </a:lnTo>
                    <a:lnTo>
                      <a:pt x="1981" y="927"/>
                    </a:lnTo>
                    <a:lnTo>
                      <a:pt x="1944" y="965"/>
                    </a:lnTo>
                    <a:lnTo>
                      <a:pt x="1944" y="965"/>
                    </a:lnTo>
                    <a:lnTo>
                      <a:pt x="1916" y="991"/>
                    </a:lnTo>
                    <a:lnTo>
                      <a:pt x="1888" y="1017"/>
                    </a:lnTo>
                    <a:lnTo>
                      <a:pt x="1828" y="1069"/>
                    </a:lnTo>
                    <a:lnTo>
                      <a:pt x="1768" y="1119"/>
                    </a:lnTo>
                    <a:lnTo>
                      <a:pt x="1706" y="1167"/>
                    </a:lnTo>
                    <a:lnTo>
                      <a:pt x="1706" y="1167"/>
                    </a:lnTo>
                    <a:lnTo>
                      <a:pt x="1608" y="1242"/>
                    </a:lnTo>
                    <a:lnTo>
                      <a:pt x="1531" y="1298"/>
                    </a:lnTo>
                    <a:lnTo>
                      <a:pt x="1466" y="1343"/>
                    </a:lnTo>
                    <a:lnTo>
                      <a:pt x="1401" y="1387"/>
                    </a:lnTo>
                    <a:lnTo>
                      <a:pt x="1230" y="1500"/>
                    </a:lnTo>
                    <a:lnTo>
                      <a:pt x="1102" y="1585"/>
                    </a:lnTo>
                    <a:lnTo>
                      <a:pt x="931" y="1700"/>
                    </a:lnTo>
                    <a:lnTo>
                      <a:pt x="672" y="1877"/>
                    </a:lnTo>
                    <a:lnTo>
                      <a:pt x="672" y="1877"/>
                    </a:lnTo>
                    <a:lnTo>
                      <a:pt x="423" y="2045"/>
                    </a:lnTo>
                    <a:lnTo>
                      <a:pt x="296" y="2133"/>
                    </a:lnTo>
                    <a:lnTo>
                      <a:pt x="153" y="2233"/>
                    </a:lnTo>
                    <a:lnTo>
                      <a:pt x="153" y="2233"/>
                    </a:lnTo>
                    <a:lnTo>
                      <a:pt x="86" y="2280"/>
                    </a:lnTo>
                    <a:lnTo>
                      <a:pt x="0" y="2342"/>
                    </a:lnTo>
                    <a:lnTo>
                      <a:pt x="112" y="234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1139B3F4-7421-4BA6-8555-3162FEAF0C35}"/>
                  </a:ext>
                </a:extLst>
              </p:cNvPr>
              <p:cNvSpPr/>
              <p:nvPr/>
            </p:nvSpPr>
            <p:spPr bwMode="auto">
              <a:xfrm>
                <a:off x="5901531" y="2565399"/>
                <a:ext cx="719137" cy="236538"/>
              </a:xfrm>
              <a:custGeom>
                <a:avLst/>
                <a:gdLst>
                  <a:gd name="T0" fmla="*/ 0 w 453"/>
                  <a:gd name="T1" fmla="*/ 145 h 149"/>
                  <a:gd name="T2" fmla="*/ 10 w 453"/>
                  <a:gd name="T3" fmla="*/ 138 h 149"/>
                  <a:gd name="T4" fmla="*/ 39 w 453"/>
                  <a:gd name="T5" fmla="*/ 122 h 149"/>
                  <a:gd name="T6" fmla="*/ 41 w 453"/>
                  <a:gd name="T7" fmla="*/ 127 h 149"/>
                  <a:gd name="T8" fmla="*/ 13 w 453"/>
                  <a:gd name="T9" fmla="*/ 142 h 149"/>
                  <a:gd name="T10" fmla="*/ 4 w 453"/>
                  <a:gd name="T11" fmla="*/ 149 h 149"/>
                  <a:gd name="T12" fmla="*/ 61 w 453"/>
                  <a:gd name="T13" fmla="*/ 114 h 149"/>
                  <a:gd name="T14" fmla="*/ 77 w 453"/>
                  <a:gd name="T15" fmla="*/ 106 h 149"/>
                  <a:gd name="T16" fmla="*/ 97 w 453"/>
                  <a:gd name="T17" fmla="*/ 103 h 149"/>
                  <a:gd name="T18" fmla="*/ 79 w 453"/>
                  <a:gd name="T19" fmla="*/ 110 h 149"/>
                  <a:gd name="T20" fmla="*/ 61 w 453"/>
                  <a:gd name="T21" fmla="*/ 114 h 149"/>
                  <a:gd name="T22" fmla="*/ 118 w 453"/>
                  <a:gd name="T23" fmla="*/ 91 h 149"/>
                  <a:gd name="T24" fmla="*/ 155 w 453"/>
                  <a:gd name="T25" fmla="*/ 84 h 149"/>
                  <a:gd name="T26" fmla="*/ 119 w 453"/>
                  <a:gd name="T27" fmla="*/ 95 h 149"/>
                  <a:gd name="T28" fmla="*/ 177 w 453"/>
                  <a:gd name="T29" fmla="*/ 73 h 149"/>
                  <a:gd name="T30" fmla="*/ 213 w 453"/>
                  <a:gd name="T31" fmla="*/ 64 h 149"/>
                  <a:gd name="T32" fmla="*/ 214 w 453"/>
                  <a:gd name="T33" fmla="*/ 69 h 149"/>
                  <a:gd name="T34" fmla="*/ 177 w 453"/>
                  <a:gd name="T35" fmla="*/ 73 h 149"/>
                  <a:gd name="T36" fmla="*/ 236 w 453"/>
                  <a:gd name="T37" fmla="*/ 59 h 149"/>
                  <a:gd name="T38" fmla="*/ 275 w 453"/>
                  <a:gd name="T39" fmla="*/ 55 h 149"/>
                  <a:gd name="T40" fmla="*/ 237 w 453"/>
                  <a:gd name="T41" fmla="*/ 63 h 149"/>
                  <a:gd name="T42" fmla="*/ 297 w 453"/>
                  <a:gd name="T43" fmla="*/ 47 h 149"/>
                  <a:gd name="T44" fmla="*/ 314 w 453"/>
                  <a:gd name="T45" fmla="*/ 43 h 149"/>
                  <a:gd name="T46" fmla="*/ 334 w 453"/>
                  <a:gd name="T47" fmla="*/ 43 h 149"/>
                  <a:gd name="T48" fmla="*/ 316 w 453"/>
                  <a:gd name="T49" fmla="*/ 48 h 149"/>
                  <a:gd name="T50" fmla="*/ 297 w 453"/>
                  <a:gd name="T51" fmla="*/ 47 h 149"/>
                  <a:gd name="T52" fmla="*/ 356 w 453"/>
                  <a:gd name="T53" fmla="*/ 33 h 149"/>
                  <a:gd name="T54" fmla="*/ 395 w 453"/>
                  <a:gd name="T55" fmla="*/ 28 h 149"/>
                  <a:gd name="T56" fmla="*/ 357 w 453"/>
                  <a:gd name="T57" fmla="*/ 38 h 149"/>
                  <a:gd name="T58" fmla="*/ 416 w 453"/>
                  <a:gd name="T59" fmla="*/ 16 h 149"/>
                  <a:gd name="T60" fmla="*/ 435 w 453"/>
                  <a:gd name="T61" fmla="*/ 8 h 149"/>
                  <a:gd name="T62" fmla="*/ 450 w 453"/>
                  <a:gd name="T63" fmla="*/ 0 h 149"/>
                  <a:gd name="T64" fmla="*/ 453 w 453"/>
                  <a:gd name="T65" fmla="*/ 3 h 149"/>
                  <a:gd name="T66" fmla="*/ 438 w 453"/>
                  <a:gd name="T67" fmla="*/ 11 h 149"/>
                  <a:gd name="T68" fmla="*/ 416 w 453"/>
                  <a:gd name="T69" fmla="*/ 16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53" h="149">
                    <a:moveTo>
                      <a:pt x="0" y="145"/>
                    </a:moveTo>
                    <a:lnTo>
                      <a:pt x="0" y="145"/>
                    </a:lnTo>
                    <a:lnTo>
                      <a:pt x="2" y="143"/>
                    </a:lnTo>
                    <a:lnTo>
                      <a:pt x="10" y="138"/>
                    </a:lnTo>
                    <a:lnTo>
                      <a:pt x="22" y="130"/>
                    </a:lnTo>
                    <a:lnTo>
                      <a:pt x="39" y="122"/>
                    </a:lnTo>
                    <a:lnTo>
                      <a:pt x="41" y="127"/>
                    </a:lnTo>
                    <a:lnTo>
                      <a:pt x="41" y="127"/>
                    </a:lnTo>
                    <a:lnTo>
                      <a:pt x="25" y="136"/>
                    </a:lnTo>
                    <a:lnTo>
                      <a:pt x="13" y="142"/>
                    </a:lnTo>
                    <a:lnTo>
                      <a:pt x="7" y="147"/>
                    </a:lnTo>
                    <a:lnTo>
                      <a:pt x="4" y="149"/>
                    </a:lnTo>
                    <a:lnTo>
                      <a:pt x="0" y="145"/>
                    </a:lnTo>
                    <a:close/>
                    <a:moveTo>
                      <a:pt x="61" y="114"/>
                    </a:moveTo>
                    <a:lnTo>
                      <a:pt x="61" y="114"/>
                    </a:lnTo>
                    <a:lnTo>
                      <a:pt x="77" y="106"/>
                    </a:lnTo>
                    <a:lnTo>
                      <a:pt x="96" y="98"/>
                    </a:lnTo>
                    <a:lnTo>
                      <a:pt x="97" y="103"/>
                    </a:lnTo>
                    <a:lnTo>
                      <a:pt x="97" y="103"/>
                    </a:lnTo>
                    <a:lnTo>
                      <a:pt x="79" y="110"/>
                    </a:lnTo>
                    <a:lnTo>
                      <a:pt x="63" y="118"/>
                    </a:lnTo>
                    <a:lnTo>
                      <a:pt x="61" y="114"/>
                    </a:lnTo>
                    <a:close/>
                    <a:moveTo>
                      <a:pt x="118" y="91"/>
                    </a:moveTo>
                    <a:lnTo>
                      <a:pt x="118" y="91"/>
                    </a:lnTo>
                    <a:lnTo>
                      <a:pt x="154" y="80"/>
                    </a:lnTo>
                    <a:lnTo>
                      <a:pt x="155" y="84"/>
                    </a:lnTo>
                    <a:lnTo>
                      <a:pt x="155" y="84"/>
                    </a:lnTo>
                    <a:lnTo>
                      <a:pt x="119" y="95"/>
                    </a:lnTo>
                    <a:lnTo>
                      <a:pt x="118" y="91"/>
                    </a:lnTo>
                    <a:close/>
                    <a:moveTo>
                      <a:pt x="177" y="73"/>
                    </a:moveTo>
                    <a:lnTo>
                      <a:pt x="177" y="73"/>
                    </a:lnTo>
                    <a:lnTo>
                      <a:pt x="213" y="64"/>
                    </a:lnTo>
                    <a:lnTo>
                      <a:pt x="214" y="69"/>
                    </a:lnTo>
                    <a:lnTo>
                      <a:pt x="214" y="69"/>
                    </a:lnTo>
                    <a:lnTo>
                      <a:pt x="178" y="77"/>
                    </a:lnTo>
                    <a:lnTo>
                      <a:pt x="177" y="73"/>
                    </a:lnTo>
                    <a:close/>
                    <a:moveTo>
                      <a:pt x="236" y="59"/>
                    </a:moveTo>
                    <a:lnTo>
                      <a:pt x="236" y="59"/>
                    </a:lnTo>
                    <a:lnTo>
                      <a:pt x="274" y="51"/>
                    </a:lnTo>
                    <a:lnTo>
                      <a:pt x="275" y="55"/>
                    </a:lnTo>
                    <a:lnTo>
                      <a:pt x="275" y="55"/>
                    </a:lnTo>
                    <a:lnTo>
                      <a:pt x="237" y="63"/>
                    </a:lnTo>
                    <a:lnTo>
                      <a:pt x="236" y="59"/>
                    </a:lnTo>
                    <a:close/>
                    <a:moveTo>
                      <a:pt x="297" y="47"/>
                    </a:moveTo>
                    <a:lnTo>
                      <a:pt x="297" y="47"/>
                    </a:lnTo>
                    <a:lnTo>
                      <a:pt x="314" y="43"/>
                    </a:lnTo>
                    <a:lnTo>
                      <a:pt x="333" y="39"/>
                    </a:lnTo>
                    <a:lnTo>
                      <a:pt x="334" y="43"/>
                    </a:lnTo>
                    <a:lnTo>
                      <a:pt x="316" y="48"/>
                    </a:lnTo>
                    <a:lnTo>
                      <a:pt x="316" y="48"/>
                    </a:lnTo>
                    <a:lnTo>
                      <a:pt x="298" y="51"/>
                    </a:lnTo>
                    <a:lnTo>
                      <a:pt x="297" y="47"/>
                    </a:lnTo>
                    <a:close/>
                    <a:moveTo>
                      <a:pt x="356" y="33"/>
                    </a:moveTo>
                    <a:lnTo>
                      <a:pt x="356" y="33"/>
                    </a:lnTo>
                    <a:lnTo>
                      <a:pt x="394" y="23"/>
                    </a:lnTo>
                    <a:lnTo>
                      <a:pt x="395" y="28"/>
                    </a:lnTo>
                    <a:lnTo>
                      <a:pt x="395" y="28"/>
                    </a:lnTo>
                    <a:lnTo>
                      <a:pt x="357" y="38"/>
                    </a:lnTo>
                    <a:lnTo>
                      <a:pt x="356" y="33"/>
                    </a:lnTo>
                    <a:close/>
                    <a:moveTo>
                      <a:pt x="416" y="16"/>
                    </a:moveTo>
                    <a:lnTo>
                      <a:pt x="416" y="16"/>
                    </a:lnTo>
                    <a:lnTo>
                      <a:pt x="435" y="8"/>
                    </a:lnTo>
                    <a:lnTo>
                      <a:pt x="443" y="4"/>
                    </a:lnTo>
                    <a:lnTo>
                      <a:pt x="450" y="0"/>
                    </a:lnTo>
                    <a:lnTo>
                      <a:pt x="453" y="3"/>
                    </a:lnTo>
                    <a:lnTo>
                      <a:pt x="453" y="3"/>
                    </a:lnTo>
                    <a:lnTo>
                      <a:pt x="446" y="7"/>
                    </a:lnTo>
                    <a:lnTo>
                      <a:pt x="438" y="11"/>
                    </a:lnTo>
                    <a:lnTo>
                      <a:pt x="417" y="20"/>
                    </a:lnTo>
                    <a:lnTo>
                      <a:pt x="416" y="16"/>
                    </a:lnTo>
                    <a:close/>
                  </a:path>
                </a:pathLst>
              </a:custGeom>
              <a:solidFill>
                <a:srgbClr val="C5CC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92500" lnSpcReduction="1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grpSp>
            <p:nvGrpSpPr>
              <p:cNvPr id="57" name="组合 56">
                <a:extLst>
                  <a:ext uri="{FF2B5EF4-FFF2-40B4-BE49-F238E27FC236}">
                    <a16:creationId xmlns:a16="http://schemas.microsoft.com/office/drawing/2014/main" id="{1503B9A6-5F0D-4C59-A460-13339AEAF3F2}"/>
                  </a:ext>
                </a:extLst>
              </p:cNvPr>
              <p:cNvGrpSpPr/>
              <p:nvPr/>
            </p:nvGrpSpPr>
            <p:grpSpPr>
              <a:xfrm>
                <a:off x="5353843" y="2827337"/>
                <a:ext cx="2441575" cy="3319463"/>
                <a:chOff x="4803141" y="2824162"/>
                <a:chExt cx="2441575" cy="3319463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59" name="任意多边形: 形状 58">
                  <a:extLst>
                    <a:ext uri="{FF2B5EF4-FFF2-40B4-BE49-F238E27FC236}">
                      <a16:creationId xmlns:a16="http://schemas.microsoft.com/office/drawing/2014/main" id="{74E23B88-5629-40C6-B666-3F1692F6E952}"/>
                    </a:ext>
                  </a:extLst>
                </p:cNvPr>
                <p:cNvSpPr/>
                <p:nvPr/>
              </p:nvSpPr>
              <p:spPr bwMode="auto">
                <a:xfrm>
                  <a:off x="7158991" y="3649662"/>
                  <a:ext cx="85725" cy="271463"/>
                </a:xfrm>
                <a:custGeom>
                  <a:avLst/>
                  <a:gdLst>
                    <a:gd name="T0" fmla="*/ 31 w 54"/>
                    <a:gd name="T1" fmla="*/ 171 h 171"/>
                    <a:gd name="T2" fmla="*/ 31 w 54"/>
                    <a:gd name="T3" fmla="*/ 171 h 171"/>
                    <a:gd name="T4" fmla="*/ 40 w 54"/>
                    <a:gd name="T5" fmla="*/ 147 h 171"/>
                    <a:gd name="T6" fmla="*/ 48 w 54"/>
                    <a:gd name="T7" fmla="*/ 126 h 171"/>
                    <a:gd name="T8" fmla="*/ 50 w 54"/>
                    <a:gd name="T9" fmla="*/ 115 h 171"/>
                    <a:gd name="T10" fmla="*/ 53 w 54"/>
                    <a:gd name="T11" fmla="*/ 104 h 171"/>
                    <a:gd name="T12" fmla="*/ 54 w 54"/>
                    <a:gd name="T13" fmla="*/ 93 h 171"/>
                    <a:gd name="T14" fmla="*/ 54 w 54"/>
                    <a:gd name="T15" fmla="*/ 82 h 171"/>
                    <a:gd name="T16" fmla="*/ 54 w 54"/>
                    <a:gd name="T17" fmla="*/ 82 h 171"/>
                    <a:gd name="T18" fmla="*/ 54 w 54"/>
                    <a:gd name="T19" fmla="*/ 60 h 171"/>
                    <a:gd name="T20" fmla="*/ 53 w 54"/>
                    <a:gd name="T21" fmla="*/ 50 h 171"/>
                    <a:gd name="T22" fmla="*/ 50 w 54"/>
                    <a:gd name="T23" fmla="*/ 41 h 171"/>
                    <a:gd name="T24" fmla="*/ 47 w 54"/>
                    <a:gd name="T25" fmla="*/ 31 h 171"/>
                    <a:gd name="T26" fmla="*/ 44 w 54"/>
                    <a:gd name="T27" fmla="*/ 22 h 171"/>
                    <a:gd name="T28" fmla="*/ 33 w 54"/>
                    <a:gd name="T29" fmla="*/ 0 h 171"/>
                    <a:gd name="T30" fmla="*/ 6 w 54"/>
                    <a:gd name="T31" fmla="*/ 11 h 171"/>
                    <a:gd name="T32" fmla="*/ 6 w 54"/>
                    <a:gd name="T33" fmla="*/ 11 h 171"/>
                    <a:gd name="T34" fmla="*/ 15 w 54"/>
                    <a:gd name="T35" fmla="*/ 30 h 171"/>
                    <a:gd name="T36" fmla="*/ 19 w 54"/>
                    <a:gd name="T37" fmla="*/ 39 h 171"/>
                    <a:gd name="T38" fmla="*/ 21 w 54"/>
                    <a:gd name="T39" fmla="*/ 47 h 171"/>
                    <a:gd name="T40" fmla="*/ 22 w 54"/>
                    <a:gd name="T41" fmla="*/ 55 h 171"/>
                    <a:gd name="T42" fmla="*/ 23 w 54"/>
                    <a:gd name="T43" fmla="*/ 63 h 171"/>
                    <a:gd name="T44" fmla="*/ 23 w 54"/>
                    <a:gd name="T45" fmla="*/ 82 h 171"/>
                    <a:gd name="T46" fmla="*/ 23 w 54"/>
                    <a:gd name="T47" fmla="*/ 82 h 171"/>
                    <a:gd name="T48" fmla="*/ 23 w 54"/>
                    <a:gd name="T49" fmla="*/ 90 h 171"/>
                    <a:gd name="T50" fmla="*/ 21 w 54"/>
                    <a:gd name="T51" fmla="*/ 99 h 171"/>
                    <a:gd name="T52" fmla="*/ 16 w 54"/>
                    <a:gd name="T53" fmla="*/ 116 h 171"/>
                    <a:gd name="T54" fmla="*/ 10 w 54"/>
                    <a:gd name="T55" fmla="*/ 134 h 171"/>
                    <a:gd name="T56" fmla="*/ 0 w 54"/>
                    <a:gd name="T57" fmla="*/ 154 h 171"/>
                    <a:gd name="T58" fmla="*/ 31 w 54"/>
                    <a:gd name="T59" fmla="*/ 171 h 1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54" h="171">
                      <a:moveTo>
                        <a:pt x="31" y="171"/>
                      </a:moveTo>
                      <a:lnTo>
                        <a:pt x="31" y="171"/>
                      </a:lnTo>
                      <a:lnTo>
                        <a:pt x="40" y="147"/>
                      </a:lnTo>
                      <a:lnTo>
                        <a:pt x="48" y="126"/>
                      </a:lnTo>
                      <a:lnTo>
                        <a:pt x="50" y="115"/>
                      </a:lnTo>
                      <a:lnTo>
                        <a:pt x="53" y="104"/>
                      </a:lnTo>
                      <a:lnTo>
                        <a:pt x="54" y="93"/>
                      </a:lnTo>
                      <a:lnTo>
                        <a:pt x="54" y="82"/>
                      </a:lnTo>
                      <a:lnTo>
                        <a:pt x="54" y="82"/>
                      </a:lnTo>
                      <a:lnTo>
                        <a:pt x="54" y="60"/>
                      </a:lnTo>
                      <a:lnTo>
                        <a:pt x="53" y="50"/>
                      </a:lnTo>
                      <a:lnTo>
                        <a:pt x="50" y="41"/>
                      </a:lnTo>
                      <a:lnTo>
                        <a:pt x="47" y="31"/>
                      </a:lnTo>
                      <a:lnTo>
                        <a:pt x="44" y="22"/>
                      </a:lnTo>
                      <a:lnTo>
                        <a:pt x="33" y="0"/>
                      </a:lnTo>
                      <a:lnTo>
                        <a:pt x="6" y="11"/>
                      </a:lnTo>
                      <a:lnTo>
                        <a:pt x="6" y="11"/>
                      </a:lnTo>
                      <a:lnTo>
                        <a:pt x="15" y="30"/>
                      </a:lnTo>
                      <a:lnTo>
                        <a:pt x="19" y="39"/>
                      </a:lnTo>
                      <a:lnTo>
                        <a:pt x="21" y="47"/>
                      </a:lnTo>
                      <a:lnTo>
                        <a:pt x="22" y="55"/>
                      </a:lnTo>
                      <a:lnTo>
                        <a:pt x="23" y="63"/>
                      </a:lnTo>
                      <a:lnTo>
                        <a:pt x="23" y="82"/>
                      </a:lnTo>
                      <a:lnTo>
                        <a:pt x="23" y="82"/>
                      </a:lnTo>
                      <a:lnTo>
                        <a:pt x="23" y="90"/>
                      </a:lnTo>
                      <a:lnTo>
                        <a:pt x="21" y="99"/>
                      </a:lnTo>
                      <a:lnTo>
                        <a:pt x="16" y="116"/>
                      </a:lnTo>
                      <a:lnTo>
                        <a:pt x="10" y="134"/>
                      </a:lnTo>
                      <a:lnTo>
                        <a:pt x="0" y="154"/>
                      </a:lnTo>
                      <a:lnTo>
                        <a:pt x="31" y="17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0" name="任意多边形: 形状 59">
                  <a:extLst>
                    <a:ext uri="{FF2B5EF4-FFF2-40B4-BE49-F238E27FC236}">
                      <a16:creationId xmlns:a16="http://schemas.microsoft.com/office/drawing/2014/main" id="{36A79912-778F-4F5F-9C5B-39AEE036CE0C}"/>
                    </a:ext>
                  </a:extLst>
                </p:cNvPr>
                <p:cNvSpPr/>
                <p:nvPr/>
              </p:nvSpPr>
              <p:spPr bwMode="auto">
                <a:xfrm>
                  <a:off x="7003416" y="3405187"/>
                  <a:ext cx="160337" cy="142875"/>
                </a:xfrm>
                <a:custGeom>
                  <a:avLst/>
                  <a:gdLst>
                    <a:gd name="T0" fmla="*/ 84 w 101"/>
                    <a:gd name="T1" fmla="*/ 90 h 90"/>
                    <a:gd name="T2" fmla="*/ 101 w 101"/>
                    <a:gd name="T3" fmla="*/ 73 h 90"/>
                    <a:gd name="T4" fmla="*/ 101 w 101"/>
                    <a:gd name="T5" fmla="*/ 73 h 90"/>
                    <a:gd name="T6" fmla="*/ 82 w 101"/>
                    <a:gd name="T7" fmla="*/ 56 h 90"/>
                    <a:gd name="T8" fmla="*/ 59 w 101"/>
                    <a:gd name="T9" fmla="*/ 37 h 90"/>
                    <a:gd name="T10" fmla="*/ 34 w 101"/>
                    <a:gd name="T11" fmla="*/ 18 h 90"/>
                    <a:gd name="T12" fmla="*/ 11 w 101"/>
                    <a:gd name="T13" fmla="*/ 0 h 90"/>
                    <a:gd name="T14" fmla="*/ 0 w 101"/>
                    <a:gd name="T15" fmla="*/ 17 h 90"/>
                    <a:gd name="T16" fmla="*/ 0 w 101"/>
                    <a:gd name="T17" fmla="*/ 17 h 90"/>
                    <a:gd name="T18" fmla="*/ 22 w 101"/>
                    <a:gd name="T19" fmla="*/ 33 h 90"/>
                    <a:gd name="T20" fmla="*/ 45 w 101"/>
                    <a:gd name="T21" fmla="*/ 54 h 90"/>
                    <a:gd name="T22" fmla="*/ 67 w 101"/>
                    <a:gd name="T23" fmla="*/ 73 h 90"/>
                    <a:gd name="T24" fmla="*/ 84 w 101"/>
                    <a:gd name="T25" fmla="*/ 90 h 90"/>
                    <a:gd name="T26" fmla="*/ 84 w 101"/>
                    <a:gd name="T27" fmla="*/ 90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01" h="90">
                      <a:moveTo>
                        <a:pt x="84" y="90"/>
                      </a:moveTo>
                      <a:lnTo>
                        <a:pt x="101" y="73"/>
                      </a:lnTo>
                      <a:lnTo>
                        <a:pt x="101" y="73"/>
                      </a:lnTo>
                      <a:lnTo>
                        <a:pt x="82" y="56"/>
                      </a:lnTo>
                      <a:lnTo>
                        <a:pt x="59" y="37"/>
                      </a:lnTo>
                      <a:lnTo>
                        <a:pt x="34" y="18"/>
                      </a:lnTo>
                      <a:lnTo>
                        <a:pt x="11" y="0"/>
                      </a:lnTo>
                      <a:lnTo>
                        <a:pt x="0" y="17"/>
                      </a:lnTo>
                      <a:lnTo>
                        <a:pt x="0" y="17"/>
                      </a:lnTo>
                      <a:lnTo>
                        <a:pt x="22" y="33"/>
                      </a:lnTo>
                      <a:lnTo>
                        <a:pt x="45" y="54"/>
                      </a:lnTo>
                      <a:lnTo>
                        <a:pt x="67" y="73"/>
                      </a:lnTo>
                      <a:lnTo>
                        <a:pt x="84" y="90"/>
                      </a:lnTo>
                      <a:lnTo>
                        <a:pt x="84" y="9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47500" lnSpcReduction="20000"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1" name="任意多边形: 形状 60">
                  <a:extLst>
                    <a:ext uri="{FF2B5EF4-FFF2-40B4-BE49-F238E27FC236}">
                      <a16:creationId xmlns:a16="http://schemas.microsoft.com/office/drawing/2014/main" id="{F01DD8A6-467D-4B2A-AE1D-559DCFC18AAB}"/>
                    </a:ext>
                  </a:extLst>
                </p:cNvPr>
                <p:cNvSpPr/>
                <p:nvPr/>
              </p:nvSpPr>
              <p:spPr bwMode="auto">
                <a:xfrm>
                  <a:off x="5344479" y="2824162"/>
                  <a:ext cx="1574800" cy="519113"/>
                </a:xfrm>
                <a:custGeom>
                  <a:avLst/>
                  <a:gdLst>
                    <a:gd name="T0" fmla="*/ 925 w 992"/>
                    <a:gd name="T1" fmla="*/ 276 h 327"/>
                    <a:gd name="T2" fmla="*/ 955 w 992"/>
                    <a:gd name="T3" fmla="*/ 292 h 327"/>
                    <a:gd name="T4" fmla="*/ 992 w 992"/>
                    <a:gd name="T5" fmla="*/ 314 h 327"/>
                    <a:gd name="T6" fmla="*/ 981 w 992"/>
                    <a:gd name="T7" fmla="*/ 327 h 327"/>
                    <a:gd name="T8" fmla="*/ 947 w 992"/>
                    <a:gd name="T9" fmla="*/ 304 h 327"/>
                    <a:gd name="T10" fmla="*/ 919 w 992"/>
                    <a:gd name="T11" fmla="*/ 289 h 327"/>
                    <a:gd name="T12" fmla="*/ 790 w 992"/>
                    <a:gd name="T13" fmla="*/ 221 h 327"/>
                    <a:gd name="T14" fmla="*/ 825 w 992"/>
                    <a:gd name="T15" fmla="*/ 234 h 327"/>
                    <a:gd name="T16" fmla="*/ 855 w 992"/>
                    <a:gd name="T17" fmla="*/ 260 h 327"/>
                    <a:gd name="T18" fmla="*/ 821 w 992"/>
                    <a:gd name="T19" fmla="*/ 246 h 327"/>
                    <a:gd name="T20" fmla="*/ 786 w 992"/>
                    <a:gd name="T21" fmla="*/ 233 h 327"/>
                    <a:gd name="T22" fmla="*/ 653 w 992"/>
                    <a:gd name="T23" fmla="*/ 181 h 327"/>
                    <a:gd name="T24" fmla="*/ 722 w 992"/>
                    <a:gd name="T25" fmla="*/ 200 h 327"/>
                    <a:gd name="T26" fmla="*/ 720 w 992"/>
                    <a:gd name="T27" fmla="*/ 210 h 327"/>
                    <a:gd name="T28" fmla="*/ 650 w 992"/>
                    <a:gd name="T29" fmla="*/ 190 h 327"/>
                    <a:gd name="T30" fmla="*/ 512 w 992"/>
                    <a:gd name="T31" fmla="*/ 146 h 327"/>
                    <a:gd name="T32" fmla="*/ 583 w 992"/>
                    <a:gd name="T33" fmla="*/ 163 h 327"/>
                    <a:gd name="T34" fmla="*/ 580 w 992"/>
                    <a:gd name="T35" fmla="*/ 172 h 327"/>
                    <a:gd name="T36" fmla="*/ 511 w 992"/>
                    <a:gd name="T37" fmla="*/ 156 h 327"/>
                    <a:gd name="T38" fmla="*/ 370 w 992"/>
                    <a:gd name="T39" fmla="*/ 120 h 327"/>
                    <a:gd name="T40" fmla="*/ 442 w 992"/>
                    <a:gd name="T41" fmla="*/ 132 h 327"/>
                    <a:gd name="T42" fmla="*/ 439 w 992"/>
                    <a:gd name="T43" fmla="*/ 142 h 327"/>
                    <a:gd name="T44" fmla="*/ 369 w 992"/>
                    <a:gd name="T45" fmla="*/ 129 h 327"/>
                    <a:gd name="T46" fmla="*/ 278 w 992"/>
                    <a:gd name="T47" fmla="*/ 115 h 327"/>
                    <a:gd name="T48" fmla="*/ 227 w 992"/>
                    <a:gd name="T49" fmla="*/ 98 h 327"/>
                    <a:gd name="T50" fmla="*/ 279 w 992"/>
                    <a:gd name="T51" fmla="*/ 106 h 327"/>
                    <a:gd name="T52" fmla="*/ 299 w 992"/>
                    <a:gd name="T53" fmla="*/ 108 h 327"/>
                    <a:gd name="T54" fmla="*/ 298 w 992"/>
                    <a:gd name="T55" fmla="*/ 118 h 327"/>
                    <a:gd name="T56" fmla="*/ 278 w 992"/>
                    <a:gd name="T57" fmla="*/ 115 h 327"/>
                    <a:gd name="T58" fmla="*/ 88 w 992"/>
                    <a:gd name="T59" fmla="*/ 64 h 327"/>
                    <a:gd name="T60" fmla="*/ 119 w 992"/>
                    <a:gd name="T61" fmla="*/ 74 h 327"/>
                    <a:gd name="T62" fmla="*/ 155 w 992"/>
                    <a:gd name="T63" fmla="*/ 93 h 327"/>
                    <a:gd name="T64" fmla="*/ 117 w 992"/>
                    <a:gd name="T65" fmla="*/ 84 h 327"/>
                    <a:gd name="T66" fmla="*/ 84 w 992"/>
                    <a:gd name="T67" fmla="*/ 73 h 327"/>
                    <a:gd name="T68" fmla="*/ 0 w 992"/>
                    <a:gd name="T69" fmla="*/ 2 h 327"/>
                    <a:gd name="T70" fmla="*/ 7 w 992"/>
                    <a:gd name="T71" fmla="*/ 1 h 327"/>
                    <a:gd name="T72" fmla="*/ 7 w 992"/>
                    <a:gd name="T73" fmla="*/ 2 h 327"/>
                    <a:gd name="T74" fmla="*/ 12 w 992"/>
                    <a:gd name="T75" fmla="*/ 17 h 327"/>
                    <a:gd name="T76" fmla="*/ 26 w 992"/>
                    <a:gd name="T77" fmla="*/ 32 h 327"/>
                    <a:gd name="T78" fmla="*/ 19 w 992"/>
                    <a:gd name="T79" fmla="*/ 40 h 327"/>
                    <a:gd name="T80" fmla="*/ 4 w 992"/>
                    <a:gd name="T81" fmla="*/ 21 h 327"/>
                    <a:gd name="T82" fmla="*/ 0 w 992"/>
                    <a:gd name="T83" fmla="*/ 2 h 3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992" h="327">
                      <a:moveTo>
                        <a:pt x="919" y="289"/>
                      </a:moveTo>
                      <a:lnTo>
                        <a:pt x="925" y="276"/>
                      </a:lnTo>
                      <a:lnTo>
                        <a:pt x="925" y="276"/>
                      </a:lnTo>
                      <a:lnTo>
                        <a:pt x="955" y="292"/>
                      </a:lnTo>
                      <a:lnTo>
                        <a:pt x="975" y="303"/>
                      </a:lnTo>
                      <a:lnTo>
                        <a:pt x="992" y="314"/>
                      </a:lnTo>
                      <a:lnTo>
                        <a:pt x="981" y="327"/>
                      </a:lnTo>
                      <a:lnTo>
                        <a:pt x="981" y="327"/>
                      </a:lnTo>
                      <a:lnTo>
                        <a:pt x="966" y="316"/>
                      </a:lnTo>
                      <a:lnTo>
                        <a:pt x="947" y="304"/>
                      </a:lnTo>
                      <a:lnTo>
                        <a:pt x="919" y="289"/>
                      </a:lnTo>
                      <a:lnTo>
                        <a:pt x="919" y="289"/>
                      </a:lnTo>
                      <a:close/>
                      <a:moveTo>
                        <a:pt x="786" y="233"/>
                      </a:moveTo>
                      <a:lnTo>
                        <a:pt x="790" y="221"/>
                      </a:lnTo>
                      <a:lnTo>
                        <a:pt x="790" y="221"/>
                      </a:lnTo>
                      <a:lnTo>
                        <a:pt x="825" y="234"/>
                      </a:lnTo>
                      <a:lnTo>
                        <a:pt x="859" y="248"/>
                      </a:lnTo>
                      <a:lnTo>
                        <a:pt x="855" y="260"/>
                      </a:lnTo>
                      <a:lnTo>
                        <a:pt x="855" y="260"/>
                      </a:lnTo>
                      <a:lnTo>
                        <a:pt x="821" y="246"/>
                      </a:lnTo>
                      <a:lnTo>
                        <a:pt x="786" y="233"/>
                      </a:lnTo>
                      <a:lnTo>
                        <a:pt x="786" y="233"/>
                      </a:lnTo>
                      <a:close/>
                      <a:moveTo>
                        <a:pt x="650" y="190"/>
                      </a:moveTo>
                      <a:lnTo>
                        <a:pt x="653" y="181"/>
                      </a:lnTo>
                      <a:lnTo>
                        <a:pt x="653" y="181"/>
                      </a:lnTo>
                      <a:lnTo>
                        <a:pt x="722" y="200"/>
                      </a:lnTo>
                      <a:lnTo>
                        <a:pt x="720" y="210"/>
                      </a:lnTo>
                      <a:lnTo>
                        <a:pt x="720" y="210"/>
                      </a:lnTo>
                      <a:lnTo>
                        <a:pt x="650" y="190"/>
                      </a:lnTo>
                      <a:lnTo>
                        <a:pt x="650" y="190"/>
                      </a:lnTo>
                      <a:close/>
                      <a:moveTo>
                        <a:pt x="511" y="156"/>
                      </a:moveTo>
                      <a:lnTo>
                        <a:pt x="512" y="146"/>
                      </a:lnTo>
                      <a:lnTo>
                        <a:pt x="512" y="146"/>
                      </a:lnTo>
                      <a:lnTo>
                        <a:pt x="583" y="163"/>
                      </a:lnTo>
                      <a:lnTo>
                        <a:pt x="580" y="172"/>
                      </a:lnTo>
                      <a:lnTo>
                        <a:pt x="580" y="172"/>
                      </a:lnTo>
                      <a:lnTo>
                        <a:pt x="511" y="156"/>
                      </a:lnTo>
                      <a:lnTo>
                        <a:pt x="511" y="156"/>
                      </a:lnTo>
                      <a:close/>
                      <a:moveTo>
                        <a:pt x="369" y="129"/>
                      </a:moveTo>
                      <a:lnTo>
                        <a:pt x="370" y="120"/>
                      </a:lnTo>
                      <a:lnTo>
                        <a:pt x="370" y="120"/>
                      </a:lnTo>
                      <a:lnTo>
                        <a:pt x="442" y="132"/>
                      </a:lnTo>
                      <a:lnTo>
                        <a:pt x="439" y="142"/>
                      </a:lnTo>
                      <a:lnTo>
                        <a:pt x="439" y="142"/>
                      </a:lnTo>
                      <a:lnTo>
                        <a:pt x="369" y="129"/>
                      </a:lnTo>
                      <a:lnTo>
                        <a:pt x="369" y="129"/>
                      </a:lnTo>
                      <a:close/>
                      <a:moveTo>
                        <a:pt x="278" y="115"/>
                      </a:moveTo>
                      <a:lnTo>
                        <a:pt x="278" y="115"/>
                      </a:lnTo>
                      <a:lnTo>
                        <a:pt x="226" y="107"/>
                      </a:lnTo>
                      <a:lnTo>
                        <a:pt x="227" y="98"/>
                      </a:lnTo>
                      <a:lnTo>
                        <a:pt x="227" y="98"/>
                      </a:lnTo>
                      <a:lnTo>
                        <a:pt x="279" y="106"/>
                      </a:lnTo>
                      <a:lnTo>
                        <a:pt x="279" y="106"/>
                      </a:lnTo>
                      <a:lnTo>
                        <a:pt x="299" y="108"/>
                      </a:lnTo>
                      <a:lnTo>
                        <a:pt x="298" y="118"/>
                      </a:lnTo>
                      <a:lnTo>
                        <a:pt x="298" y="118"/>
                      </a:lnTo>
                      <a:lnTo>
                        <a:pt x="278" y="115"/>
                      </a:lnTo>
                      <a:lnTo>
                        <a:pt x="278" y="115"/>
                      </a:lnTo>
                      <a:close/>
                      <a:moveTo>
                        <a:pt x="84" y="73"/>
                      </a:moveTo>
                      <a:lnTo>
                        <a:pt x="88" y="64"/>
                      </a:lnTo>
                      <a:lnTo>
                        <a:pt x="88" y="64"/>
                      </a:lnTo>
                      <a:lnTo>
                        <a:pt x="119" y="74"/>
                      </a:lnTo>
                      <a:lnTo>
                        <a:pt x="157" y="84"/>
                      </a:lnTo>
                      <a:lnTo>
                        <a:pt x="155" y="93"/>
                      </a:lnTo>
                      <a:lnTo>
                        <a:pt x="155" y="93"/>
                      </a:lnTo>
                      <a:lnTo>
                        <a:pt x="117" y="84"/>
                      </a:lnTo>
                      <a:lnTo>
                        <a:pt x="84" y="73"/>
                      </a:lnTo>
                      <a:lnTo>
                        <a:pt x="84" y="73"/>
                      </a:lnTo>
                      <a:close/>
                      <a:moveTo>
                        <a:pt x="0" y="2"/>
                      </a:move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7" y="1"/>
                      </a:lnTo>
                      <a:lnTo>
                        <a:pt x="7" y="2"/>
                      </a:lnTo>
                      <a:lnTo>
                        <a:pt x="7" y="2"/>
                      </a:lnTo>
                      <a:lnTo>
                        <a:pt x="8" y="10"/>
                      </a:lnTo>
                      <a:lnTo>
                        <a:pt x="12" y="17"/>
                      </a:lnTo>
                      <a:lnTo>
                        <a:pt x="18" y="24"/>
                      </a:lnTo>
                      <a:lnTo>
                        <a:pt x="26" y="32"/>
                      </a:lnTo>
                      <a:lnTo>
                        <a:pt x="19" y="40"/>
                      </a:lnTo>
                      <a:lnTo>
                        <a:pt x="19" y="40"/>
                      </a:lnTo>
                      <a:lnTo>
                        <a:pt x="11" y="31"/>
                      </a:lnTo>
                      <a:lnTo>
                        <a:pt x="4" y="21"/>
                      </a:lnTo>
                      <a:lnTo>
                        <a:pt x="1" y="12"/>
                      </a:lnTo>
                      <a:lnTo>
                        <a:pt x="0" y="2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2" name="任意多边形: 形状 61">
                  <a:extLst>
                    <a:ext uri="{FF2B5EF4-FFF2-40B4-BE49-F238E27FC236}">
                      <a16:creationId xmlns:a16="http://schemas.microsoft.com/office/drawing/2014/main" id="{FC8C7E83-D04C-4170-9A33-92C135DD5FCF}"/>
                    </a:ext>
                  </a:extLst>
                </p:cNvPr>
                <p:cNvSpPr/>
                <p:nvPr/>
              </p:nvSpPr>
              <p:spPr bwMode="auto">
                <a:xfrm>
                  <a:off x="5309554" y="5429249"/>
                  <a:ext cx="317500" cy="296863"/>
                </a:xfrm>
                <a:custGeom>
                  <a:avLst/>
                  <a:gdLst>
                    <a:gd name="T0" fmla="*/ 25 w 200"/>
                    <a:gd name="T1" fmla="*/ 187 h 187"/>
                    <a:gd name="T2" fmla="*/ 25 w 200"/>
                    <a:gd name="T3" fmla="*/ 187 h 187"/>
                    <a:gd name="T4" fmla="*/ 200 w 200"/>
                    <a:gd name="T5" fmla="*/ 28 h 187"/>
                    <a:gd name="T6" fmla="*/ 174 w 200"/>
                    <a:gd name="T7" fmla="*/ 0 h 187"/>
                    <a:gd name="T8" fmla="*/ 174 w 200"/>
                    <a:gd name="T9" fmla="*/ 0 h 187"/>
                    <a:gd name="T10" fmla="*/ 0 w 200"/>
                    <a:gd name="T11" fmla="*/ 160 h 187"/>
                    <a:gd name="T12" fmla="*/ 25 w 200"/>
                    <a:gd name="T13" fmla="*/ 187 h 1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0" h="187">
                      <a:moveTo>
                        <a:pt x="25" y="187"/>
                      </a:moveTo>
                      <a:lnTo>
                        <a:pt x="25" y="187"/>
                      </a:lnTo>
                      <a:lnTo>
                        <a:pt x="200" y="28"/>
                      </a:lnTo>
                      <a:lnTo>
                        <a:pt x="174" y="0"/>
                      </a:lnTo>
                      <a:lnTo>
                        <a:pt x="174" y="0"/>
                      </a:lnTo>
                      <a:lnTo>
                        <a:pt x="0" y="160"/>
                      </a:lnTo>
                      <a:lnTo>
                        <a:pt x="25" y="18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3" name="任意多边形: 形状 62">
                  <a:extLst>
                    <a:ext uri="{FF2B5EF4-FFF2-40B4-BE49-F238E27FC236}">
                      <a16:creationId xmlns:a16="http://schemas.microsoft.com/office/drawing/2014/main" id="{8BD1FA54-A36F-4C82-8E63-E00AB6B4E095}"/>
                    </a:ext>
                  </a:extLst>
                </p:cNvPr>
                <p:cNvSpPr/>
                <p:nvPr/>
              </p:nvSpPr>
              <p:spPr bwMode="auto">
                <a:xfrm>
                  <a:off x="5806441" y="4972049"/>
                  <a:ext cx="315912" cy="298450"/>
                </a:xfrm>
                <a:custGeom>
                  <a:avLst/>
                  <a:gdLst>
                    <a:gd name="T0" fmla="*/ 25 w 199"/>
                    <a:gd name="T1" fmla="*/ 188 h 188"/>
                    <a:gd name="T2" fmla="*/ 25 w 199"/>
                    <a:gd name="T3" fmla="*/ 188 h 188"/>
                    <a:gd name="T4" fmla="*/ 199 w 199"/>
                    <a:gd name="T5" fmla="*/ 28 h 188"/>
                    <a:gd name="T6" fmla="*/ 174 w 199"/>
                    <a:gd name="T7" fmla="*/ 0 h 188"/>
                    <a:gd name="T8" fmla="*/ 174 w 199"/>
                    <a:gd name="T9" fmla="*/ 0 h 188"/>
                    <a:gd name="T10" fmla="*/ 0 w 199"/>
                    <a:gd name="T11" fmla="*/ 161 h 188"/>
                    <a:gd name="T12" fmla="*/ 25 w 199"/>
                    <a:gd name="T13" fmla="*/ 188 h 1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99" h="188">
                      <a:moveTo>
                        <a:pt x="25" y="188"/>
                      </a:moveTo>
                      <a:lnTo>
                        <a:pt x="25" y="188"/>
                      </a:lnTo>
                      <a:lnTo>
                        <a:pt x="199" y="28"/>
                      </a:lnTo>
                      <a:lnTo>
                        <a:pt x="174" y="0"/>
                      </a:lnTo>
                      <a:lnTo>
                        <a:pt x="174" y="0"/>
                      </a:lnTo>
                      <a:lnTo>
                        <a:pt x="0" y="161"/>
                      </a:lnTo>
                      <a:lnTo>
                        <a:pt x="25" y="18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4" name="任意多边形: 形状 63">
                  <a:extLst>
                    <a:ext uri="{FF2B5EF4-FFF2-40B4-BE49-F238E27FC236}">
                      <a16:creationId xmlns:a16="http://schemas.microsoft.com/office/drawing/2014/main" id="{69484CE3-BF19-4447-BBA8-2B31571B5CE6}"/>
                    </a:ext>
                  </a:extLst>
                </p:cNvPr>
                <p:cNvSpPr/>
                <p:nvPr/>
              </p:nvSpPr>
              <p:spPr bwMode="auto">
                <a:xfrm>
                  <a:off x="6301741" y="4510087"/>
                  <a:ext cx="314325" cy="301625"/>
                </a:xfrm>
                <a:custGeom>
                  <a:avLst/>
                  <a:gdLst>
                    <a:gd name="T0" fmla="*/ 25 w 198"/>
                    <a:gd name="T1" fmla="*/ 190 h 190"/>
                    <a:gd name="T2" fmla="*/ 25 w 198"/>
                    <a:gd name="T3" fmla="*/ 190 h 190"/>
                    <a:gd name="T4" fmla="*/ 198 w 198"/>
                    <a:gd name="T5" fmla="*/ 28 h 190"/>
                    <a:gd name="T6" fmla="*/ 173 w 198"/>
                    <a:gd name="T7" fmla="*/ 0 h 190"/>
                    <a:gd name="T8" fmla="*/ 173 w 198"/>
                    <a:gd name="T9" fmla="*/ 0 h 190"/>
                    <a:gd name="T10" fmla="*/ 0 w 198"/>
                    <a:gd name="T11" fmla="*/ 162 h 190"/>
                    <a:gd name="T12" fmla="*/ 25 w 198"/>
                    <a:gd name="T13" fmla="*/ 190 h 1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98" h="190">
                      <a:moveTo>
                        <a:pt x="25" y="190"/>
                      </a:moveTo>
                      <a:lnTo>
                        <a:pt x="25" y="190"/>
                      </a:lnTo>
                      <a:lnTo>
                        <a:pt x="198" y="28"/>
                      </a:lnTo>
                      <a:lnTo>
                        <a:pt x="173" y="0"/>
                      </a:lnTo>
                      <a:lnTo>
                        <a:pt x="173" y="0"/>
                      </a:lnTo>
                      <a:lnTo>
                        <a:pt x="0" y="162"/>
                      </a:lnTo>
                      <a:lnTo>
                        <a:pt x="25" y="19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5" name="任意多边形: 形状 64">
                  <a:extLst>
                    <a:ext uri="{FF2B5EF4-FFF2-40B4-BE49-F238E27FC236}">
                      <a16:creationId xmlns:a16="http://schemas.microsoft.com/office/drawing/2014/main" id="{7515A900-C04D-4848-A8D8-58C882E4A310}"/>
                    </a:ext>
                  </a:extLst>
                </p:cNvPr>
                <p:cNvSpPr/>
                <p:nvPr/>
              </p:nvSpPr>
              <p:spPr bwMode="auto">
                <a:xfrm>
                  <a:off x="4803141" y="5881687"/>
                  <a:ext cx="320675" cy="261938"/>
                </a:xfrm>
                <a:custGeom>
                  <a:avLst/>
                  <a:gdLst>
                    <a:gd name="T0" fmla="*/ 46 w 202"/>
                    <a:gd name="T1" fmla="*/ 165 h 165"/>
                    <a:gd name="T2" fmla="*/ 46 w 202"/>
                    <a:gd name="T3" fmla="*/ 165 h 165"/>
                    <a:gd name="T4" fmla="*/ 120 w 202"/>
                    <a:gd name="T5" fmla="*/ 101 h 165"/>
                    <a:gd name="T6" fmla="*/ 202 w 202"/>
                    <a:gd name="T7" fmla="*/ 29 h 165"/>
                    <a:gd name="T8" fmla="*/ 178 w 202"/>
                    <a:gd name="T9" fmla="*/ 0 h 165"/>
                    <a:gd name="T10" fmla="*/ 178 w 202"/>
                    <a:gd name="T11" fmla="*/ 0 h 165"/>
                    <a:gd name="T12" fmla="*/ 81 w 202"/>
                    <a:gd name="T13" fmla="*/ 85 h 165"/>
                    <a:gd name="T14" fmla="*/ 0 w 202"/>
                    <a:gd name="T15" fmla="*/ 155 h 165"/>
                    <a:gd name="T16" fmla="*/ 8 w 202"/>
                    <a:gd name="T17" fmla="*/ 165 h 165"/>
                    <a:gd name="T18" fmla="*/ 46 w 202"/>
                    <a:gd name="T19" fmla="*/ 165 h 1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02" h="165">
                      <a:moveTo>
                        <a:pt x="46" y="165"/>
                      </a:moveTo>
                      <a:lnTo>
                        <a:pt x="46" y="165"/>
                      </a:lnTo>
                      <a:lnTo>
                        <a:pt x="120" y="101"/>
                      </a:lnTo>
                      <a:lnTo>
                        <a:pt x="202" y="29"/>
                      </a:lnTo>
                      <a:lnTo>
                        <a:pt x="178" y="0"/>
                      </a:lnTo>
                      <a:lnTo>
                        <a:pt x="178" y="0"/>
                      </a:lnTo>
                      <a:lnTo>
                        <a:pt x="81" y="85"/>
                      </a:lnTo>
                      <a:lnTo>
                        <a:pt x="0" y="155"/>
                      </a:lnTo>
                      <a:lnTo>
                        <a:pt x="8" y="165"/>
                      </a:lnTo>
                      <a:lnTo>
                        <a:pt x="46" y="16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6" name="任意多边形: 形状 65">
                  <a:extLst>
                    <a:ext uri="{FF2B5EF4-FFF2-40B4-BE49-F238E27FC236}">
                      <a16:creationId xmlns:a16="http://schemas.microsoft.com/office/drawing/2014/main" id="{F1AECE60-481F-4C53-9D6C-A27215CA0E93}"/>
                    </a:ext>
                  </a:extLst>
                </p:cNvPr>
                <p:cNvSpPr/>
                <p:nvPr/>
              </p:nvSpPr>
              <p:spPr bwMode="auto">
                <a:xfrm>
                  <a:off x="6774816" y="4044949"/>
                  <a:ext cx="320675" cy="323850"/>
                </a:xfrm>
                <a:custGeom>
                  <a:avLst/>
                  <a:gdLst>
                    <a:gd name="T0" fmla="*/ 31 w 202"/>
                    <a:gd name="T1" fmla="*/ 204 h 204"/>
                    <a:gd name="T2" fmla="*/ 31 w 202"/>
                    <a:gd name="T3" fmla="*/ 204 h 204"/>
                    <a:gd name="T4" fmla="*/ 77 w 202"/>
                    <a:gd name="T5" fmla="*/ 161 h 204"/>
                    <a:gd name="T6" fmla="*/ 99 w 202"/>
                    <a:gd name="T7" fmla="*/ 140 h 204"/>
                    <a:gd name="T8" fmla="*/ 121 w 202"/>
                    <a:gd name="T9" fmla="*/ 117 h 204"/>
                    <a:gd name="T10" fmla="*/ 143 w 202"/>
                    <a:gd name="T11" fmla="*/ 94 h 204"/>
                    <a:gd name="T12" fmla="*/ 163 w 202"/>
                    <a:gd name="T13" fmla="*/ 71 h 204"/>
                    <a:gd name="T14" fmla="*/ 182 w 202"/>
                    <a:gd name="T15" fmla="*/ 47 h 204"/>
                    <a:gd name="T16" fmla="*/ 202 w 202"/>
                    <a:gd name="T17" fmla="*/ 22 h 204"/>
                    <a:gd name="T18" fmla="*/ 202 w 202"/>
                    <a:gd name="T19" fmla="*/ 22 h 204"/>
                    <a:gd name="T20" fmla="*/ 171 w 202"/>
                    <a:gd name="T21" fmla="*/ 0 h 204"/>
                    <a:gd name="T22" fmla="*/ 171 w 202"/>
                    <a:gd name="T23" fmla="*/ 0 h 204"/>
                    <a:gd name="T24" fmla="*/ 152 w 202"/>
                    <a:gd name="T25" fmla="*/ 24 h 204"/>
                    <a:gd name="T26" fmla="*/ 132 w 202"/>
                    <a:gd name="T27" fmla="*/ 48 h 204"/>
                    <a:gd name="T28" fmla="*/ 111 w 202"/>
                    <a:gd name="T29" fmla="*/ 71 h 204"/>
                    <a:gd name="T30" fmla="*/ 90 w 202"/>
                    <a:gd name="T31" fmla="*/ 93 h 204"/>
                    <a:gd name="T32" fmla="*/ 68 w 202"/>
                    <a:gd name="T33" fmla="*/ 115 h 204"/>
                    <a:gd name="T34" fmla="*/ 46 w 202"/>
                    <a:gd name="T35" fmla="*/ 136 h 204"/>
                    <a:gd name="T36" fmla="*/ 0 w 202"/>
                    <a:gd name="T37" fmla="*/ 178 h 204"/>
                    <a:gd name="T38" fmla="*/ 0 w 202"/>
                    <a:gd name="T39" fmla="*/ 178 h 204"/>
                    <a:gd name="T40" fmla="*/ 31 w 202"/>
                    <a:gd name="T41" fmla="*/ 204 h 204"/>
                    <a:gd name="T42" fmla="*/ 31 w 202"/>
                    <a:gd name="T43" fmla="*/ 204 h 2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202" h="204">
                      <a:moveTo>
                        <a:pt x="31" y="204"/>
                      </a:moveTo>
                      <a:lnTo>
                        <a:pt x="31" y="204"/>
                      </a:lnTo>
                      <a:lnTo>
                        <a:pt x="77" y="161"/>
                      </a:lnTo>
                      <a:lnTo>
                        <a:pt x="99" y="140"/>
                      </a:lnTo>
                      <a:lnTo>
                        <a:pt x="121" y="117"/>
                      </a:lnTo>
                      <a:lnTo>
                        <a:pt x="143" y="94"/>
                      </a:lnTo>
                      <a:lnTo>
                        <a:pt x="163" y="71"/>
                      </a:lnTo>
                      <a:lnTo>
                        <a:pt x="182" y="47"/>
                      </a:lnTo>
                      <a:lnTo>
                        <a:pt x="202" y="22"/>
                      </a:lnTo>
                      <a:lnTo>
                        <a:pt x="202" y="22"/>
                      </a:lnTo>
                      <a:lnTo>
                        <a:pt x="171" y="0"/>
                      </a:lnTo>
                      <a:lnTo>
                        <a:pt x="171" y="0"/>
                      </a:lnTo>
                      <a:lnTo>
                        <a:pt x="152" y="24"/>
                      </a:lnTo>
                      <a:lnTo>
                        <a:pt x="132" y="48"/>
                      </a:lnTo>
                      <a:lnTo>
                        <a:pt x="111" y="71"/>
                      </a:lnTo>
                      <a:lnTo>
                        <a:pt x="90" y="93"/>
                      </a:lnTo>
                      <a:lnTo>
                        <a:pt x="68" y="115"/>
                      </a:lnTo>
                      <a:lnTo>
                        <a:pt x="46" y="136"/>
                      </a:lnTo>
                      <a:lnTo>
                        <a:pt x="0" y="178"/>
                      </a:lnTo>
                      <a:lnTo>
                        <a:pt x="0" y="178"/>
                      </a:lnTo>
                      <a:lnTo>
                        <a:pt x="31" y="204"/>
                      </a:lnTo>
                      <a:lnTo>
                        <a:pt x="31" y="20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02F99401-685C-4DD0-86BC-3DE634BFE368}"/>
                  </a:ext>
                </a:extLst>
              </p:cNvPr>
              <p:cNvSpPr/>
              <p:nvPr/>
            </p:nvSpPr>
            <p:spPr bwMode="auto">
              <a:xfrm>
                <a:off x="6034881" y="2368549"/>
                <a:ext cx="2316162" cy="3778250"/>
              </a:xfrm>
              <a:custGeom>
                <a:avLst/>
                <a:gdLst>
                  <a:gd name="T0" fmla="*/ 257 w 1459"/>
                  <a:gd name="T1" fmla="*/ 88 h 2380"/>
                  <a:gd name="T2" fmla="*/ 449 w 1459"/>
                  <a:gd name="T3" fmla="*/ 113 h 2380"/>
                  <a:gd name="T4" fmla="*/ 472 w 1459"/>
                  <a:gd name="T5" fmla="*/ 124 h 2380"/>
                  <a:gd name="T6" fmla="*/ 437 w 1459"/>
                  <a:gd name="T7" fmla="*/ 141 h 2380"/>
                  <a:gd name="T8" fmla="*/ 248 w 1459"/>
                  <a:gd name="T9" fmla="*/ 186 h 2380"/>
                  <a:gd name="T10" fmla="*/ 72 w 1459"/>
                  <a:gd name="T11" fmla="*/ 237 h 2380"/>
                  <a:gd name="T12" fmla="*/ 41 w 1459"/>
                  <a:gd name="T13" fmla="*/ 271 h 2380"/>
                  <a:gd name="T14" fmla="*/ 56 w 1459"/>
                  <a:gd name="T15" fmla="*/ 301 h 2380"/>
                  <a:gd name="T16" fmla="*/ 192 w 1459"/>
                  <a:gd name="T17" fmla="*/ 342 h 2380"/>
                  <a:gd name="T18" fmla="*/ 579 w 1459"/>
                  <a:gd name="T19" fmla="*/ 406 h 2380"/>
                  <a:gd name="T20" fmla="*/ 950 w 1459"/>
                  <a:gd name="T21" fmla="*/ 494 h 2380"/>
                  <a:gd name="T22" fmla="*/ 1146 w 1459"/>
                  <a:gd name="T23" fmla="*/ 571 h 2380"/>
                  <a:gd name="T24" fmla="*/ 1264 w 1459"/>
                  <a:gd name="T25" fmla="*/ 644 h 2380"/>
                  <a:gd name="T26" fmla="*/ 1379 w 1459"/>
                  <a:gd name="T27" fmla="*/ 772 h 2380"/>
                  <a:gd name="T28" fmla="*/ 1411 w 1459"/>
                  <a:gd name="T29" fmla="*/ 842 h 2380"/>
                  <a:gd name="T30" fmla="*/ 1422 w 1459"/>
                  <a:gd name="T31" fmla="*/ 920 h 2380"/>
                  <a:gd name="T32" fmla="*/ 1401 w 1459"/>
                  <a:gd name="T33" fmla="*/ 1022 h 2380"/>
                  <a:gd name="T34" fmla="*/ 1329 w 1459"/>
                  <a:gd name="T35" fmla="*/ 1140 h 2380"/>
                  <a:gd name="T36" fmla="*/ 1041 w 1459"/>
                  <a:gd name="T37" fmla="*/ 1480 h 2380"/>
                  <a:gd name="T38" fmla="*/ 462 w 1459"/>
                  <a:gd name="T39" fmla="*/ 2074 h 2380"/>
                  <a:gd name="T40" fmla="*/ 139 w 1459"/>
                  <a:gd name="T41" fmla="*/ 2380 h 2380"/>
                  <a:gd name="T42" fmla="*/ 557 w 1459"/>
                  <a:gd name="T43" fmla="*/ 2068 h 2380"/>
                  <a:gd name="T44" fmla="*/ 1045 w 1459"/>
                  <a:gd name="T45" fmla="*/ 1542 h 2380"/>
                  <a:gd name="T46" fmla="*/ 1358 w 1459"/>
                  <a:gd name="T47" fmla="*/ 1168 h 2380"/>
                  <a:gd name="T48" fmla="*/ 1430 w 1459"/>
                  <a:gd name="T49" fmla="*/ 1055 h 2380"/>
                  <a:gd name="T50" fmla="*/ 1457 w 1459"/>
                  <a:gd name="T51" fmla="*/ 950 h 2380"/>
                  <a:gd name="T52" fmla="*/ 1453 w 1459"/>
                  <a:gd name="T53" fmla="*/ 862 h 2380"/>
                  <a:gd name="T54" fmla="*/ 1418 w 1459"/>
                  <a:gd name="T55" fmla="*/ 770 h 2380"/>
                  <a:gd name="T56" fmla="*/ 1331 w 1459"/>
                  <a:gd name="T57" fmla="*/ 659 h 2380"/>
                  <a:gd name="T58" fmla="*/ 1210 w 1459"/>
                  <a:gd name="T59" fmla="*/ 571 h 2380"/>
                  <a:gd name="T60" fmla="*/ 1028 w 1459"/>
                  <a:gd name="T61" fmla="*/ 492 h 2380"/>
                  <a:gd name="T62" fmla="*/ 666 w 1459"/>
                  <a:gd name="T63" fmla="*/ 401 h 2380"/>
                  <a:gd name="T64" fmla="*/ 235 w 1459"/>
                  <a:gd name="T65" fmla="*/ 335 h 2380"/>
                  <a:gd name="T66" fmla="*/ 69 w 1459"/>
                  <a:gd name="T67" fmla="*/ 297 h 2380"/>
                  <a:gd name="T68" fmla="*/ 50 w 1459"/>
                  <a:gd name="T69" fmla="*/ 276 h 2380"/>
                  <a:gd name="T70" fmla="*/ 68 w 1459"/>
                  <a:gd name="T71" fmla="*/ 250 h 2380"/>
                  <a:gd name="T72" fmla="*/ 211 w 1459"/>
                  <a:gd name="T73" fmla="*/ 200 h 2380"/>
                  <a:gd name="T74" fmla="*/ 438 w 1459"/>
                  <a:gd name="T75" fmla="*/ 144 h 2380"/>
                  <a:gd name="T76" fmla="*/ 473 w 1459"/>
                  <a:gd name="T77" fmla="*/ 127 h 2380"/>
                  <a:gd name="T78" fmla="*/ 461 w 1459"/>
                  <a:gd name="T79" fmla="*/ 114 h 2380"/>
                  <a:gd name="T80" fmla="*/ 340 w 1459"/>
                  <a:gd name="T81" fmla="*/ 95 h 2380"/>
                  <a:gd name="T82" fmla="*/ 67 w 1459"/>
                  <a:gd name="T83" fmla="*/ 72 h 2380"/>
                  <a:gd name="T84" fmla="*/ 1 w 1459"/>
                  <a:gd name="T85" fmla="*/ 60 h 2380"/>
                  <a:gd name="T86" fmla="*/ 18 w 1459"/>
                  <a:gd name="T87" fmla="*/ 49 h 2380"/>
                  <a:gd name="T88" fmla="*/ 141 w 1459"/>
                  <a:gd name="T89" fmla="*/ 31 h 2380"/>
                  <a:gd name="T90" fmla="*/ 202 w 1459"/>
                  <a:gd name="T91" fmla="*/ 27 h 2380"/>
                  <a:gd name="T92" fmla="*/ 234 w 1459"/>
                  <a:gd name="T93" fmla="*/ 17 h 2380"/>
                  <a:gd name="T94" fmla="*/ 200 w 1459"/>
                  <a:gd name="T95" fmla="*/ 7 h 2380"/>
                  <a:gd name="T96" fmla="*/ 145 w 1459"/>
                  <a:gd name="T97" fmla="*/ 1 h 2380"/>
                  <a:gd name="T98" fmla="*/ 126 w 1459"/>
                  <a:gd name="T99" fmla="*/ 0 h 2380"/>
                  <a:gd name="T100" fmla="*/ 200 w 1459"/>
                  <a:gd name="T101" fmla="*/ 7 h 2380"/>
                  <a:gd name="T102" fmla="*/ 233 w 1459"/>
                  <a:gd name="T103" fmla="*/ 16 h 2380"/>
                  <a:gd name="T104" fmla="*/ 213 w 1459"/>
                  <a:gd name="T105" fmla="*/ 24 h 2380"/>
                  <a:gd name="T106" fmla="*/ 141 w 1459"/>
                  <a:gd name="T107" fmla="*/ 31 h 2380"/>
                  <a:gd name="T108" fmla="*/ 18 w 1459"/>
                  <a:gd name="T109" fmla="*/ 49 h 2380"/>
                  <a:gd name="T110" fmla="*/ 1 w 1459"/>
                  <a:gd name="T111" fmla="*/ 60 h 2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459" h="2380">
                    <a:moveTo>
                      <a:pt x="33" y="69"/>
                    </a:moveTo>
                    <a:lnTo>
                      <a:pt x="33" y="69"/>
                    </a:lnTo>
                    <a:lnTo>
                      <a:pt x="102" y="75"/>
                    </a:lnTo>
                    <a:lnTo>
                      <a:pt x="102" y="75"/>
                    </a:lnTo>
                    <a:lnTo>
                      <a:pt x="178" y="82"/>
                    </a:lnTo>
                    <a:lnTo>
                      <a:pt x="257" y="88"/>
                    </a:lnTo>
                    <a:lnTo>
                      <a:pt x="257" y="88"/>
                    </a:lnTo>
                    <a:lnTo>
                      <a:pt x="338" y="96"/>
                    </a:lnTo>
                    <a:lnTo>
                      <a:pt x="382" y="101"/>
                    </a:lnTo>
                    <a:lnTo>
                      <a:pt x="427" y="108"/>
                    </a:lnTo>
                    <a:lnTo>
                      <a:pt x="427" y="108"/>
                    </a:lnTo>
                    <a:lnTo>
                      <a:pt x="449" y="113"/>
                    </a:lnTo>
                    <a:lnTo>
                      <a:pt x="460" y="117"/>
                    </a:lnTo>
                    <a:lnTo>
                      <a:pt x="466" y="119"/>
                    </a:lnTo>
                    <a:lnTo>
                      <a:pt x="469" y="121"/>
                    </a:lnTo>
                    <a:lnTo>
                      <a:pt x="469" y="121"/>
                    </a:lnTo>
                    <a:lnTo>
                      <a:pt x="471" y="122"/>
                    </a:lnTo>
                    <a:lnTo>
                      <a:pt x="472" y="124"/>
                    </a:lnTo>
                    <a:lnTo>
                      <a:pt x="471" y="125"/>
                    </a:lnTo>
                    <a:lnTo>
                      <a:pt x="469" y="128"/>
                    </a:lnTo>
                    <a:lnTo>
                      <a:pt x="469" y="128"/>
                    </a:lnTo>
                    <a:lnTo>
                      <a:pt x="462" y="132"/>
                    </a:lnTo>
                    <a:lnTo>
                      <a:pt x="454" y="135"/>
                    </a:lnTo>
                    <a:lnTo>
                      <a:pt x="437" y="141"/>
                    </a:lnTo>
                    <a:lnTo>
                      <a:pt x="437" y="141"/>
                    </a:lnTo>
                    <a:lnTo>
                      <a:pt x="415" y="149"/>
                    </a:lnTo>
                    <a:lnTo>
                      <a:pt x="392" y="154"/>
                    </a:lnTo>
                    <a:lnTo>
                      <a:pt x="346" y="165"/>
                    </a:lnTo>
                    <a:lnTo>
                      <a:pt x="346" y="165"/>
                    </a:lnTo>
                    <a:lnTo>
                      <a:pt x="248" y="186"/>
                    </a:lnTo>
                    <a:lnTo>
                      <a:pt x="204" y="196"/>
                    </a:lnTo>
                    <a:lnTo>
                      <a:pt x="163" y="205"/>
                    </a:lnTo>
                    <a:lnTo>
                      <a:pt x="127" y="215"/>
                    </a:lnTo>
                    <a:lnTo>
                      <a:pt x="97" y="226"/>
                    </a:lnTo>
                    <a:lnTo>
                      <a:pt x="84" y="231"/>
                    </a:lnTo>
                    <a:lnTo>
                      <a:pt x="72" y="237"/>
                    </a:lnTo>
                    <a:lnTo>
                      <a:pt x="62" y="243"/>
                    </a:lnTo>
                    <a:lnTo>
                      <a:pt x="53" y="250"/>
                    </a:lnTo>
                    <a:lnTo>
                      <a:pt x="53" y="250"/>
                    </a:lnTo>
                    <a:lnTo>
                      <a:pt x="47" y="256"/>
                    </a:lnTo>
                    <a:lnTo>
                      <a:pt x="44" y="263"/>
                    </a:lnTo>
                    <a:lnTo>
                      <a:pt x="41" y="271"/>
                    </a:lnTo>
                    <a:lnTo>
                      <a:pt x="41" y="277"/>
                    </a:lnTo>
                    <a:lnTo>
                      <a:pt x="42" y="284"/>
                    </a:lnTo>
                    <a:lnTo>
                      <a:pt x="46" y="290"/>
                    </a:lnTo>
                    <a:lnTo>
                      <a:pt x="50" y="297"/>
                    </a:lnTo>
                    <a:lnTo>
                      <a:pt x="56" y="301"/>
                    </a:lnTo>
                    <a:lnTo>
                      <a:pt x="56" y="301"/>
                    </a:lnTo>
                    <a:lnTo>
                      <a:pt x="63" y="306"/>
                    </a:lnTo>
                    <a:lnTo>
                      <a:pt x="72" y="310"/>
                    </a:lnTo>
                    <a:lnTo>
                      <a:pt x="94" y="319"/>
                    </a:lnTo>
                    <a:lnTo>
                      <a:pt x="123" y="327"/>
                    </a:lnTo>
                    <a:lnTo>
                      <a:pt x="155" y="334"/>
                    </a:lnTo>
                    <a:lnTo>
                      <a:pt x="192" y="342"/>
                    </a:lnTo>
                    <a:lnTo>
                      <a:pt x="233" y="349"/>
                    </a:lnTo>
                    <a:lnTo>
                      <a:pt x="324" y="364"/>
                    </a:lnTo>
                    <a:lnTo>
                      <a:pt x="324" y="364"/>
                    </a:lnTo>
                    <a:lnTo>
                      <a:pt x="414" y="378"/>
                    </a:lnTo>
                    <a:lnTo>
                      <a:pt x="521" y="396"/>
                    </a:lnTo>
                    <a:lnTo>
                      <a:pt x="579" y="406"/>
                    </a:lnTo>
                    <a:lnTo>
                      <a:pt x="639" y="418"/>
                    </a:lnTo>
                    <a:lnTo>
                      <a:pt x="701" y="430"/>
                    </a:lnTo>
                    <a:lnTo>
                      <a:pt x="764" y="444"/>
                    </a:lnTo>
                    <a:lnTo>
                      <a:pt x="826" y="460"/>
                    </a:lnTo>
                    <a:lnTo>
                      <a:pt x="889" y="476"/>
                    </a:lnTo>
                    <a:lnTo>
                      <a:pt x="950" y="494"/>
                    </a:lnTo>
                    <a:lnTo>
                      <a:pt x="1010" y="514"/>
                    </a:lnTo>
                    <a:lnTo>
                      <a:pt x="1038" y="524"/>
                    </a:lnTo>
                    <a:lnTo>
                      <a:pt x="1066" y="535"/>
                    </a:lnTo>
                    <a:lnTo>
                      <a:pt x="1093" y="546"/>
                    </a:lnTo>
                    <a:lnTo>
                      <a:pt x="1120" y="559"/>
                    </a:lnTo>
                    <a:lnTo>
                      <a:pt x="1146" y="571"/>
                    </a:lnTo>
                    <a:lnTo>
                      <a:pt x="1170" y="584"/>
                    </a:lnTo>
                    <a:lnTo>
                      <a:pt x="1193" y="597"/>
                    </a:lnTo>
                    <a:lnTo>
                      <a:pt x="1216" y="610"/>
                    </a:lnTo>
                    <a:lnTo>
                      <a:pt x="1216" y="610"/>
                    </a:lnTo>
                    <a:lnTo>
                      <a:pt x="1241" y="627"/>
                    </a:lnTo>
                    <a:lnTo>
                      <a:pt x="1264" y="644"/>
                    </a:lnTo>
                    <a:lnTo>
                      <a:pt x="1286" y="662"/>
                    </a:lnTo>
                    <a:lnTo>
                      <a:pt x="1308" y="682"/>
                    </a:lnTo>
                    <a:lnTo>
                      <a:pt x="1327" y="703"/>
                    </a:lnTo>
                    <a:lnTo>
                      <a:pt x="1346" y="725"/>
                    </a:lnTo>
                    <a:lnTo>
                      <a:pt x="1364" y="748"/>
                    </a:lnTo>
                    <a:lnTo>
                      <a:pt x="1379" y="772"/>
                    </a:lnTo>
                    <a:lnTo>
                      <a:pt x="1379" y="772"/>
                    </a:lnTo>
                    <a:lnTo>
                      <a:pt x="1387" y="786"/>
                    </a:lnTo>
                    <a:lnTo>
                      <a:pt x="1394" y="800"/>
                    </a:lnTo>
                    <a:lnTo>
                      <a:pt x="1400" y="815"/>
                    </a:lnTo>
                    <a:lnTo>
                      <a:pt x="1405" y="828"/>
                    </a:lnTo>
                    <a:lnTo>
                      <a:pt x="1411" y="842"/>
                    </a:lnTo>
                    <a:lnTo>
                      <a:pt x="1414" y="855"/>
                    </a:lnTo>
                    <a:lnTo>
                      <a:pt x="1418" y="869"/>
                    </a:lnTo>
                    <a:lnTo>
                      <a:pt x="1420" y="882"/>
                    </a:lnTo>
                    <a:lnTo>
                      <a:pt x="1421" y="895"/>
                    </a:lnTo>
                    <a:lnTo>
                      <a:pt x="1422" y="908"/>
                    </a:lnTo>
                    <a:lnTo>
                      <a:pt x="1422" y="920"/>
                    </a:lnTo>
                    <a:lnTo>
                      <a:pt x="1421" y="933"/>
                    </a:lnTo>
                    <a:lnTo>
                      <a:pt x="1418" y="960"/>
                    </a:lnTo>
                    <a:lnTo>
                      <a:pt x="1412" y="985"/>
                    </a:lnTo>
                    <a:lnTo>
                      <a:pt x="1412" y="985"/>
                    </a:lnTo>
                    <a:lnTo>
                      <a:pt x="1405" y="1010"/>
                    </a:lnTo>
                    <a:lnTo>
                      <a:pt x="1401" y="1022"/>
                    </a:lnTo>
                    <a:lnTo>
                      <a:pt x="1396" y="1036"/>
                    </a:lnTo>
                    <a:lnTo>
                      <a:pt x="1389" y="1049"/>
                    </a:lnTo>
                    <a:lnTo>
                      <a:pt x="1381" y="1063"/>
                    </a:lnTo>
                    <a:lnTo>
                      <a:pt x="1371" y="1080"/>
                    </a:lnTo>
                    <a:lnTo>
                      <a:pt x="1359" y="1097"/>
                    </a:lnTo>
                    <a:lnTo>
                      <a:pt x="1329" y="1140"/>
                    </a:lnTo>
                    <a:lnTo>
                      <a:pt x="1285" y="1194"/>
                    </a:lnTo>
                    <a:lnTo>
                      <a:pt x="1227" y="1264"/>
                    </a:lnTo>
                    <a:lnTo>
                      <a:pt x="1154" y="1351"/>
                    </a:lnTo>
                    <a:lnTo>
                      <a:pt x="1154" y="1351"/>
                    </a:lnTo>
                    <a:lnTo>
                      <a:pt x="1098" y="1416"/>
                    </a:lnTo>
                    <a:lnTo>
                      <a:pt x="1041" y="1480"/>
                    </a:lnTo>
                    <a:lnTo>
                      <a:pt x="968" y="1559"/>
                    </a:lnTo>
                    <a:lnTo>
                      <a:pt x="862" y="1668"/>
                    </a:lnTo>
                    <a:lnTo>
                      <a:pt x="862" y="1668"/>
                    </a:lnTo>
                    <a:lnTo>
                      <a:pt x="627" y="1908"/>
                    </a:lnTo>
                    <a:lnTo>
                      <a:pt x="538" y="1999"/>
                    </a:lnTo>
                    <a:lnTo>
                      <a:pt x="462" y="2074"/>
                    </a:lnTo>
                    <a:lnTo>
                      <a:pt x="394" y="2141"/>
                    </a:lnTo>
                    <a:lnTo>
                      <a:pt x="327" y="2206"/>
                    </a:lnTo>
                    <a:lnTo>
                      <a:pt x="257" y="2271"/>
                    </a:lnTo>
                    <a:lnTo>
                      <a:pt x="179" y="2344"/>
                    </a:lnTo>
                    <a:lnTo>
                      <a:pt x="179" y="2344"/>
                    </a:lnTo>
                    <a:lnTo>
                      <a:pt x="139" y="2380"/>
                    </a:lnTo>
                    <a:lnTo>
                      <a:pt x="237" y="2380"/>
                    </a:lnTo>
                    <a:lnTo>
                      <a:pt x="237" y="2380"/>
                    </a:lnTo>
                    <a:lnTo>
                      <a:pt x="332" y="2291"/>
                    </a:lnTo>
                    <a:lnTo>
                      <a:pt x="413" y="2213"/>
                    </a:lnTo>
                    <a:lnTo>
                      <a:pt x="487" y="2139"/>
                    </a:lnTo>
                    <a:lnTo>
                      <a:pt x="557" y="2068"/>
                    </a:lnTo>
                    <a:lnTo>
                      <a:pt x="629" y="1992"/>
                    </a:lnTo>
                    <a:lnTo>
                      <a:pt x="707" y="1908"/>
                    </a:lnTo>
                    <a:lnTo>
                      <a:pt x="899" y="1702"/>
                    </a:lnTo>
                    <a:lnTo>
                      <a:pt x="899" y="1702"/>
                    </a:lnTo>
                    <a:lnTo>
                      <a:pt x="978" y="1617"/>
                    </a:lnTo>
                    <a:lnTo>
                      <a:pt x="1045" y="1542"/>
                    </a:lnTo>
                    <a:lnTo>
                      <a:pt x="1111" y="1467"/>
                    </a:lnTo>
                    <a:lnTo>
                      <a:pt x="1186" y="1379"/>
                    </a:lnTo>
                    <a:lnTo>
                      <a:pt x="1186" y="1379"/>
                    </a:lnTo>
                    <a:lnTo>
                      <a:pt x="1258" y="1293"/>
                    </a:lnTo>
                    <a:lnTo>
                      <a:pt x="1315" y="1223"/>
                    </a:lnTo>
                    <a:lnTo>
                      <a:pt x="1358" y="1168"/>
                    </a:lnTo>
                    <a:lnTo>
                      <a:pt x="1376" y="1144"/>
                    </a:lnTo>
                    <a:lnTo>
                      <a:pt x="1391" y="1124"/>
                    </a:lnTo>
                    <a:lnTo>
                      <a:pt x="1403" y="1104"/>
                    </a:lnTo>
                    <a:lnTo>
                      <a:pt x="1414" y="1086"/>
                    </a:lnTo>
                    <a:lnTo>
                      <a:pt x="1423" y="1071"/>
                    </a:lnTo>
                    <a:lnTo>
                      <a:pt x="1430" y="1055"/>
                    </a:lnTo>
                    <a:lnTo>
                      <a:pt x="1436" y="1040"/>
                    </a:lnTo>
                    <a:lnTo>
                      <a:pt x="1442" y="1026"/>
                    </a:lnTo>
                    <a:lnTo>
                      <a:pt x="1449" y="995"/>
                    </a:lnTo>
                    <a:lnTo>
                      <a:pt x="1449" y="995"/>
                    </a:lnTo>
                    <a:lnTo>
                      <a:pt x="1456" y="965"/>
                    </a:lnTo>
                    <a:lnTo>
                      <a:pt x="1457" y="950"/>
                    </a:lnTo>
                    <a:lnTo>
                      <a:pt x="1458" y="936"/>
                    </a:lnTo>
                    <a:lnTo>
                      <a:pt x="1459" y="921"/>
                    </a:lnTo>
                    <a:lnTo>
                      <a:pt x="1459" y="906"/>
                    </a:lnTo>
                    <a:lnTo>
                      <a:pt x="1457" y="892"/>
                    </a:lnTo>
                    <a:lnTo>
                      <a:pt x="1456" y="876"/>
                    </a:lnTo>
                    <a:lnTo>
                      <a:pt x="1453" y="862"/>
                    </a:lnTo>
                    <a:lnTo>
                      <a:pt x="1449" y="847"/>
                    </a:lnTo>
                    <a:lnTo>
                      <a:pt x="1445" y="831"/>
                    </a:lnTo>
                    <a:lnTo>
                      <a:pt x="1440" y="816"/>
                    </a:lnTo>
                    <a:lnTo>
                      <a:pt x="1433" y="800"/>
                    </a:lnTo>
                    <a:lnTo>
                      <a:pt x="1426" y="785"/>
                    </a:lnTo>
                    <a:lnTo>
                      <a:pt x="1418" y="770"/>
                    </a:lnTo>
                    <a:lnTo>
                      <a:pt x="1409" y="754"/>
                    </a:lnTo>
                    <a:lnTo>
                      <a:pt x="1409" y="754"/>
                    </a:lnTo>
                    <a:lnTo>
                      <a:pt x="1391" y="728"/>
                    </a:lnTo>
                    <a:lnTo>
                      <a:pt x="1372" y="704"/>
                    </a:lnTo>
                    <a:lnTo>
                      <a:pt x="1353" y="681"/>
                    </a:lnTo>
                    <a:lnTo>
                      <a:pt x="1331" y="659"/>
                    </a:lnTo>
                    <a:lnTo>
                      <a:pt x="1308" y="639"/>
                    </a:lnTo>
                    <a:lnTo>
                      <a:pt x="1283" y="619"/>
                    </a:lnTo>
                    <a:lnTo>
                      <a:pt x="1258" y="601"/>
                    </a:lnTo>
                    <a:lnTo>
                      <a:pt x="1232" y="585"/>
                    </a:lnTo>
                    <a:lnTo>
                      <a:pt x="1232" y="585"/>
                    </a:lnTo>
                    <a:lnTo>
                      <a:pt x="1210" y="571"/>
                    </a:lnTo>
                    <a:lnTo>
                      <a:pt x="1187" y="559"/>
                    </a:lnTo>
                    <a:lnTo>
                      <a:pt x="1163" y="546"/>
                    </a:lnTo>
                    <a:lnTo>
                      <a:pt x="1137" y="534"/>
                    </a:lnTo>
                    <a:lnTo>
                      <a:pt x="1111" y="523"/>
                    </a:lnTo>
                    <a:lnTo>
                      <a:pt x="1084" y="512"/>
                    </a:lnTo>
                    <a:lnTo>
                      <a:pt x="1028" y="492"/>
                    </a:lnTo>
                    <a:lnTo>
                      <a:pt x="971" y="473"/>
                    </a:lnTo>
                    <a:lnTo>
                      <a:pt x="912" y="456"/>
                    </a:lnTo>
                    <a:lnTo>
                      <a:pt x="850" y="441"/>
                    </a:lnTo>
                    <a:lnTo>
                      <a:pt x="789" y="427"/>
                    </a:lnTo>
                    <a:lnTo>
                      <a:pt x="727" y="413"/>
                    </a:lnTo>
                    <a:lnTo>
                      <a:pt x="666" y="401"/>
                    </a:lnTo>
                    <a:lnTo>
                      <a:pt x="604" y="391"/>
                    </a:lnTo>
                    <a:lnTo>
                      <a:pt x="545" y="382"/>
                    </a:lnTo>
                    <a:lnTo>
                      <a:pt x="430" y="364"/>
                    </a:lnTo>
                    <a:lnTo>
                      <a:pt x="326" y="350"/>
                    </a:lnTo>
                    <a:lnTo>
                      <a:pt x="326" y="350"/>
                    </a:lnTo>
                    <a:lnTo>
                      <a:pt x="235" y="335"/>
                    </a:lnTo>
                    <a:lnTo>
                      <a:pt x="194" y="329"/>
                    </a:lnTo>
                    <a:lnTo>
                      <a:pt x="157" y="322"/>
                    </a:lnTo>
                    <a:lnTo>
                      <a:pt x="125" y="316"/>
                    </a:lnTo>
                    <a:lnTo>
                      <a:pt x="99" y="309"/>
                    </a:lnTo>
                    <a:lnTo>
                      <a:pt x="77" y="301"/>
                    </a:lnTo>
                    <a:lnTo>
                      <a:pt x="69" y="297"/>
                    </a:lnTo>
                    <a:lnTo>
                      <a:pt x="61" y="294"/>
                    </a:lnTo>
                    <a:lnTo>
                      <a:pt x="61" y="294"/>
                    </a:lnTo>
                    <a:lnTo>
                      <a:pt x="57" y="289"/>
                    </a:lnTo>
                    <a:lnTo>
                      <a:pt x="53" y="285"/>
                    </a:lnTo>
                    <a:lnTo>
                      <a:pt x="51" y="280"/>
                    </a:lnTo>
                    <a:lnTo>
                      <a:pt x="50" y="276"/>
                    </a:lnTo>
                    <a:lnTo>
                      <a:pt x="50" y="271"/>
                    </a:lnTo>
                    <a:lnTo>
                      <a:pt x="52" y="266"/>
                    </a:lnTo>
                    <a:lnTo>
                      <a:pt x="56" y="261"/>
                    </a:lnTo>
                    <a:lnTo>
                      <a:pt x="60" y="255"/>
                    </a:lnTo>
                    <a:lnTo>
                      <a:pt x="60" y="255"/>
                    </a:lnTo>
                    <a:lnTo>
                      <a:pt x="68" y="250"/>
                    </a:lnTo>
                    <a:lnTo>
                      <a:pt x="78" y="243"/>
                    </a:lnTo>
                    <a:lnTo>
                      <a:pt x="90" y="238"/>
                    </a:lnTo>
                    <a:lnTo>
                      <a:pt x="103" y="231"/>
                    </a:lnTo>
                    <a:lnTo>
                      <a:pt x="134" y="220"/>
                    </a:lnTo>
                    <a:lnTo>
                      <a:pt x="170" y="210"/>
                    </a:lnTo>
                    <a:lnTo>
                      <a:pt x="211" y="200"/>
                    </a:lnTo>
                    <a:lnTo>
                      <a:pt x="254" y="190"/>
                    </a:lnTo>
                    <a:lnTo>
                      <a:pt x="347" y="168"/>
                    </a:lnTo>
                    <a:lnTo>
                      <a:pt x="347" y="168"/>
                    </a:lnTo>
                    <a:lnTo>
                      <a:pt x="393" y="157"/>
                    </a:lnTo>
                    <a:lnTo>
                      <a:pt x="416" y="151"/>
                    </a:lnTo>
                    <a:lnTo>
                      <a:pt x="438" y="144"/>
                    </a:lnTo>
                    <a:lnTo>
                      <a:pt x="438" y="144"/>
                    </a:lnTo>
                    <a:lnTo>
                      <a:pt x="455" y="138"/>
                    </a:lnTo>
                    <a:lnTo>
                      <a:pt x="463" y="134"/>
                    </a:lnTo>
                    <a:lnTo>
                      <a:pt x="470" y="130"/>
                    </a:lnTo>
                    <a:lnTo>
                      <a:pt x="470" y="130"/>
                    </a:lnTo>
                    <a:lnTo>
                      <a:pt x="473" y="127"/>
                    </a:lnTo>
                    <a:lnTo>
                      <a:pt x="474" y="124"/>
                    </a:lnTo>
                    <a:lnTo>
                      <a:pt x="473" y="121"/>
                    </a:lnTo>
                    <a:lnTo>
                      <a:pt x="471" y="119"/>
                    </a:lnTo>
                    <a:lnTo>
                      <a:pt x="471" y="119"/>
                    </a:lnTo>
                    <a:lnTo>
                      <a:pt x="467" y="117"/>
                    </a:lnTo>
                    <a:lnTo>
                      <a:pt x="461" y="114"/>
                    </a:lnTo>
                    <a:lnTo>
                      <a:pt x="450" y="110"/>
                    </a:lnTo>
                    <a:lnTo>
                      <a:pt x="438" y="108"/>
                    </a:lnTo>
                    <a:lnTo>
                      <a:pt x="427" y="106"/>
                    </a:lnTo>
                    <a:lnTo>
                      <a:pt x="427" y="106"/>
                    </a:lnTo>
                    <a:lnTo>
                      <a:pt x="383" y="99"/>
                    </a:lnTo>
                    <a:lnTo>
                      <a:pt x="340" y="95"/>
                    </a:lnTo>
                    <a:lnTo>
                      <a:pt x="257" y="87"/>
                    </a:lnTo>
                    <a:lnTo>
                      <a:pt x="257" y="87"/>
                    </a:lnTo>
                    <a:lnTo>
                      <a:pt x="178" y="80"/>
                    </a:lnTo>
                    <a:lnTo>
                      <a:pt x="103" y="75"/>
                    </a:lnTo>
                    <a:lnTo>
                      <a:pt x="103" y="75"/>
                    </a:lnTo>
                    <a:lnTo>
                      <a:pt x="67" y="72"/>
                    </a:lnTo>
                    <a:lnTo>
                      <a:pt x="33" y="68"/>
                    </a:lnTo>
                    <a:lnTo>
                      <a:pt x="33" y="68"/>
                    </a:lnTo>
                    <a:lnTo>
                      <a:pt x="14" y="66"/>
                    </a:lnTo>
                    <a:lnTo>
                      <a:pt x="6" y="63"/>
                    </a:lnTo>
                    <a:lnTo>
                      <a:pt x="3" y="62"/>
                    </a:lnTo>
                    <a:lnTo>
                      <a:pt x="1" y="60"/>
                    </a:lnTo>
                    <a:lnTo>
                      <a:pt x="1" y="60"/>
                    </a:lnTo>
                    <a:lnTo>
                      <a:pt x="0" y="57"/>
                    </a:lnTo>
                    <a:lnTo>
                      <a:pt x="2" y="55"/>
                    </a:lnTo>
                    <a:lnTo>
                      <a:pt x="5" y="53"/>
                    </a:lnTo>
                    <a:lnTo>
                      <a:pt x="9" y="52"/>
                    </a:lnTo>
                    <a:lnTo>
                      <a:pt x="18" y="49"/>
                    </a:lnTo>
                    <a:lnTo>
                      <a:pt x="27" y="46"/>
                    </a:lnTo>
                    <a:lnTo>
                      <a:pt x="27" y="46"/>
                    </a:lnTo>
                    <a:lnTo>
                      <a:pt x="57" y="41"/>
                    </a:lnTo>
                    <a:lnTo>
                      <a:pt x="86" y="38"/>
                    </a:lnTo>
                    <a:lnTo>
                      <a:pt x="86" y="38"/>
                    </a:lnTo>
                    <a:lnTo>
                      <a:pt x="141" y="31"/>
                    </a:lnTo>
                    <a:lnTo>
                      <a:pt x="141" y="31"/>
                    </a:lnTo>
                    <a:lnTo>
                      <a:pt x="167" y="29"/>
                    </a:lnTo>
                    <a:lnTo>
                      <a:pt x="167" y="29"/>
                    </a:lnTo>
                    <a:lnTo>
                      <a:pt x="191" y="28"/>
                    </a:lnTo>
                    <a:lnTo>
                      <a:pt x="191" y="28"/>
                    </a:lnTo>
                    <a:lnTo>
                      <a:pt x="202" y="27"/>
                    </a:lnTo>
                    <a:lnTo>
                      <a:pt x="215" y="24"/>
                    </a:lnTo>
                    <a:lnTo>
                      <a:pt x="226" y="22"/>
                    </a:lnTo>
                    <a:lnTo>
                      <a:pt x="230" y="20"/>
                    </a:lnTo>
                    <a:lnTo>
                      <a:pt x="233" y="19"/>
                    </a:lnTo>
                    <a:lnTo>
                      <a:pt x="233" y="19"/>
                    </a:lnTo>
                    <a:lnTo>
                      <a:pt x="234" y="17"/>
                    </a:lnTo>
                    <a:lnTo>
                      <a:pt x="233" y="16"/>
                    </a:lnTo>
                    <a:lnTo>
                      <a:pt x="232" y="14"/>
                    </a:lnTo>
                    <a:lnTo>
                      <a:pt x="232" y="14"/>
                    </a:lnTo>
                    <a:lnTo>
                      <a:pt x="225" y="11"/>
                    </a:lnTo>
                    <a:lnTo>
                      <a:pt x="216" y="9"/>
                    </a:lnTo>
                    <a:lnTo>
                      <a:pt x="200" y="7"/>
                    </a:lnTo>
                    <a:lnTo>
                      <a:pt x="200" y="7"/>
                    </a:lnTo>
                    <a:lnTo>
                      <a:pt x="183" y="5"/>
                    </a:lnTo>
                    <a:lnTo>
                      <a:pt x="183" y="5"/>
                    </a:lnTo>
                    <a:lnTo>
                      <a:pt x="169" y="2"/>
                    </a:lnTo>
                    <a:lnTo>
                      <a:pt x="169" y="2"/>
                    </a:lnTo>
                    <a:lnTo>
                      <a:pt x="145" y="1"/>
                    </a:lnTo>
                    <a:lnTo>
                      <a:pt x="126" y="0"/>
                    </a:lnTo>
                    <a:lnTo>
                      <a:pt x="126" y="0"/>
                    </a:lnTo>
                    <a:lnTo>
                      <a:pt x="113" y="0"/>
                    </a:lnTo>
                    <a:lnTo>
                      <a:pt x="113" y="0"/>
                    </a:lnTo>
                    <a:lnTo>
                      <a:pt x="126" y="0"/>
                    </a:lnTo>
                    <a:lnTo>
                      <a:pt x="126" y="0"/>
                    </a:lnTo>
                    <a:lnTo>
                      <a:pt x="145" y="1"/>
                    </a:lnTo>
                    <a:lnTo>
                      <a:pt x="169" y="2"/>
                    </a:lnTo>
                    <a:lnTo>
                      <a:pt x="169" y="2"/>
                    </a:lnTo>
                    <a:lnTo>
                      <a:pt x="183" y="5"/>
                    </a:lnTo>
                    <a:lnTo>
                      <a:pt x="183" y="5"/>
                    </a:lnTo>
                    <a:lnTo>
                      <a:pt x="200" y="7"/>
                    </a:lnTo>
                    <a:lnTo>
                      <a:pt x="200" y="7"/>
                    </a:lnTo>
                    <a:lnTo>
                      <a:pt x="216" y="9"/>
                    </a:lnTo>
                    <a:lnTo>
                      <a:pt x="225" y="11"/>
                    </a:lnTo>
                    <a:lnTo>
                      <a:pt x="232" y="14"/>
                    </a:lnTo>
                    <a:lnTo>
                      <a:pt x="232" y="14"/>
                    </a:lnTo>
                    <a:lnTo>
                      <a:pt x="233" y="16"/>
                    </a:lnTo>
                    <a:lnTo>
                      <a:pt x="234" y="17"/>
                    </a:lnTo>
                    <a:lnTo>
                      <a:pt x="233" y="19"/>
                    </a:lnTo>
                    <a:lnTo>
                      <a:pt x="233" y="19"/>
                    </a:lnTo>
                    <a:lnTo>
                      <a:pt x="229" y="20"/>
                    </a:lnTo>
                    <a:lnTo>
                      <a:pt x="225" y="22"/>
                    </a:lnTo>
                    <a:lnTo>
                      <a:pt x="213" y="24"/>
                    </a:lnTo>
                    <a:lnTo>
                      <a:pt x="191" y="28"/>
                    </a:lnTo>
                    <a:lnTo>
                      <a:pt x="191" y="28"/>
                    </a:lnTo>
                    <a:lnTo>
                      <a:pt x="167" y="29"/>
                    </a:lnTo>
                    <a:lnTo>
                      <a:pt x="167" y="29"/>
                    </a:lnTo>
                    <a:lnTo>
                      <a:pt x="141" y="31"/>
                    </a:lnTo>
                    <a:lnTo>
                      <a:pt x="141" y="31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57" y="41"/>
                    </a:lnTo>
                    <a:lnTo>
                      <a:pt x="27" y="46"/>
                    </a:lnTo>
                    <a:lnTo>
                      <a:pt x="27" y="46"/>
                    </a:lnTo>
                    <a:lnTo>
                      <a:pt x="18" y="49"/>
                    </a:lnTo>
                    <a:lnTo>
                      <a:pt x="8" y="51"/>
                    </a:lnTo>
                    <a:lnTo>
                      <a:pt x="4" y="53"/>
                    </a:lnTo>
                    <a:lnTo>
                      <a:pt x="1" y="55"/>
                    </a:lnTo>
                    <a:lnTo>
                      <a:pt x="0" y="57"/>
                    </a:lnTo>
                    <a:lnTo>
                      <a:pt x="1" y="60"/>
                    </a:lnTo>
                    <a:lnTo>
                      <a:pt x="1" y="60"/>
                    </a:lnTo>
                    <a:lnTo>
                      <a:pt x="3" y="62"/>
                    </a:lnTo>
                    <a:lnTo>
                      <a:pt x="6" y="64"/>
                    </a:lnTo>
                    <a:lnTo>
                      <a:pt x="15" y="66"/>
                    </a:lnTo>
                    <a:lnTo>
                      <a:pt x="33" y="69"/>
                    </a:lnTo>
                    <a:lnTo>
                      <a:pt x="33" y="6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</p:grp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C6AC6544-C3A3-43B4-89CB-82D08E2CD03C}"/>
                </a:ext>
              </a:extLst>
            </p:cNvPr>
            <p:cNvSpPr/>
            <p:nvPr/>
          </p:nvSpPr>
          <p:spPr>
            <a:xfrm>
              <a:off x="3778986" y="5538097"/>
              <a:ext cx="271281" cy="211488"/>
            </a:xfrm>
            <a:custGeom>
              <a:avLst/>
              <a:gdLst>
                <a:gd name="connsiteX0" fmla="*/ 427673 w 608989"/>
                <a:gd name="connsiteY0" fmla="*/ 372781 h 474764"/>
                <a:gd name="connsiteX1" fmla="*/ 393797 w 608989"/>
                <a:gd name="connsiteY1" fmla="*/ 406614 h 474764"/>
                <a:gd name="connsiteX2" fmla="*/ 427673 w 608989"/>
                <a:gd name="connsiteY2" fmla="*/ 440448 h 474764"/>
                <a:gd name="connsiteX3" fmla="*/ 461549 w 608989"/>
                <a:gd name="connsiteY3" fmla="*/ 406614 h 474764"/>
                <a:gd name="connsiteX4" fmla="*/ 427673 w 608989"/>
                <a:gd name="connsiteY4" fmla="*/ 372781 h 474764"/>
                <a:gd name="connsiteX5" fmla="*/ 149568 w 608989"/>
                <a:gd name="connsiteY5" fmla="*/ 372781 h 474764"/>
                <a:gd name="connsiteX6" fmla="*/ 115692 w 608989"/>
                <a:gd name="connsiteY6" fmla="*/ 406614 h 474764"/>
                <a:gd name="connsiteX7" fmla="*/ 149568 w 608989"/>
                <a:gd name="connsiteY7" fmla="*/ 440448 h 474764"/>
                <a:gd name="connsiteX8" fmla="*/ 183444 w 608989"/>
                <a:gd name="connsiteY8" fmla="*/ 406614 h 474764"/>
                <a:gd name="connsiteX9" fmla="*/ 149568 w 608989"/>
                <a:gd name="connsiteY9" fmla="*/ 372781 h 474764"/>
                <a:gd name="connsiteX10" fmla="*/ 413316 w 608989"/>
                <a:gd name="connsiteY10" fmla="*/ 194754 h 474764"/>
                <a:gd name="connsiteX11" fmla="*/ 413316 w 608989"/>
                <a:gd name="connsiteY11" fmla="*/ 269348 h 474764"/>
                <a:gd name="connsiteX12" fmla="*/ 477196 w 608989"/>
                <a:gd name="connsiteY12" fmla="*/ 269348 h 474764"/>
                <a:gd name="connsiteX13" fmla="*/ 483971 w 608989"/>
                <a:gd name="connsiteY13" fmla="*/ 256137 h 474764"/>
                <a:gd name="connsiteX14" fmla="*/ 449611 w 608989"/>
                <a:gd name="connsiteY14" fmla="*/ 207965 h 474764"/>
                <a:gd name="connsiteX15" fmla="*/ 424124 w 608989"/>
                <a:gd name="connsiteY15" fmla="*/ 194754 h 474764"/>
                <a:gd name="connsiteX16" fmla="*/ 231999 w 608989"/>
                <a:gd name="connsiteY16" fmla="*/ 194754 h 474764"/>
                <a:gd name="connsiteX17" fmla="*/ 205705 w 608989"/>
                <a:gd name="connsiteY17" fmla="*/ 207321 h 474764"/>
                <a:gd name="connsiteX18" fmla="*/ 165860 w 608989"/>
                <a:gd name="connsiteY18" fmla="*/ 256782 h 474764"/>
                <a:gd name="connsiteX19" fmla="*/ 171990 w 608989"/>
                <a:gd name="connsiteY19" fmla="*/ 269348 h 474764"/>
                <a:gd name="connsiteX20" fmla="*/ 374439 w 608989"/>
                <a:gd name="connsiteY20" fmla="*/ 269348 h 474764"/>
                <a:gd name="connsiteX21" fmla="*/ 374439 w 608989"/>
                <a:gd name="connsiteY21" fmla="*/ 194754 h 474764"/>
                <a:gd name="connsiteX22" fmla="*/ 217965 w 608989"/>
                <a:gd name="connsiteY22" fmla="*/ 162371 h 474764"/>
                <a:gd name="connsiteX23" fmla="*/ 442030 w 608989"/>
                <a:gd name="connsiteY23" fmla="*/ 162371 h 474764"/>
                <a:gd name="connsiteX24" fmla="*/ 477196 w 608989"/>
                <a:gd name="connsiteY24" fmla="*/ 180577 h 474764"/>
                <a:gd name="connsiteX25" fmla="*/ 524783 w 608989"/>
                <a:gd name="connsiteY25" fmla="*/ 248243 h 474764"/>
                <a:gd name="connsiteX26" fmla="*/ 544625 w 608989"/>
                <a:gd name="connsiteY26" fmla="*/ 257910 h 474764"/>
                <a:gd name="connsiteX27" fmla="*/ 550594 w 608989"/>
                <a:gd name="connsiteY27" fmla="*/ 257104 h 474764"/>
                <a:gd name="connsiteX28" fmla="*/ 586728 w 608989"/>
                <a:gd name="connsiteY28" fmla="*/ 245826 h 474764"/>
                <a:gd name="connsiteX29" fmla="*/ 605118 w 608989"/>
                <a:gd name="connsiteY29" fmla="*/ 249693 h 474764"/>
                <a:gd name="connsiteX30" fmla="*/ 608828 w 608989"/>
                <a:gd name="connsiteY30" fmla="*/ 264354 h 474764"/>
                <a:gd name="connsiteX31" fmla="*/ 590277 w 608989"/>
                <a:gd name="connsiteY31" fmla="*/ 401942 h 474764"/>
                <a:gd name="connsiteX32" fmla="*/ 563337 w 608989"/>
                <a:gd name="connsiteY32" fmla="*/ 425625 h 474764"/>
                <a:gd name="connsiteX33" fmla="*/ 493166 w 608989"/>
                <a:gd name="connsiteY33" fmla="*/ 425625 h 474764"/>
                <a:gd name="connsiteX34" fmla="*/ 427673 w 608989"/>
                <a:gd name="connsiteY34" fmla="*/ 474764 h 474764"/>
                <a:gd name="connsiteX35" fmla="*/ 362341 w 608989"/>
                <a:gd name="connsiteY35" fmla="*/ 425625 h 474764"/>
                <a:gd name="connsiteX36" fmla="*/ 215061 w 608989"/>
                <a:gd name="connsiteY36" fmla="*/ 425625 h 474764"/>
                <a:gd name="connsiteX37" fmla="*/ 149568 w 608989"/>
                <a:gd name="connsiteY37" fmla="*/ 474764 h 474764"/>
                <a:gd name="connsiteX38" fmla="*/ 84074 w 608989"/>
                <a:gd name="connsiteY38" fmla="*/ 425625 h 474764"/>
                <a:gd name="connsiteX39" fmla="*/ 21485 w 608989"/>
                <a:gd name="connsiteY39" fmla="*/ 425625 h 474764"/>
                <a:gd name="connsiteX40" fmla="*/ 4869 w 608989"/>
                <a:gd name="connsiteY40" fmla="*/ 418214 h 474764"/>
                <a:gd name="connsiteX41" fmla="*/ 352 w 608989"/>
                <a:gd name="connsiteY41" fmla="*/ 400814 h 474764"/>
                <a:gd name="connsiteX42" fmla="*/ 15516 w 608989"/>
                <a:gd name="connsiteY42" fmla="*/ 309304 h 474764"/>
                <a:gd name="connsiteX43" fmla="*/ 41649 w 608989"/>
                <a:gd name="connsiteY43" fmla="*/ 281593 h 474764"/>
                <a:gd name="connsiteX44" fmla="*/ 95850 w 608989"/>
                <a:gd name="connsiteY44" fmla="*/ 269348 h 474764"/>
                <a:gd name="connsiteX45" fmla="*/ 125532 w 608989"/>
                <a:gd name="connsiteY45" fmla="*/ 250660 h 474764"/>
                <a:gd name="connsiteX46" fmla="*/ 181992 w 608989"/>
                <a:gd name="connsiteY46" fmla="*/ 179771 h 474764"/>
                <a:gd name="connsiteX47" fmla="*/ 217965 w 608989"/>
                <a:gd name="connsiteY47" fmla="*/ 162371 h 474764"/>
                <a:gd name="connsiteX48" fmla="*/ 168447 w 608989"/>
                <a:gd name="connsiteY48" fmla="*/ 0 h 474764"/>
                <a:gd name="connsiteX49" fmla="*/ 238143 w 608989"/>
                <a:gd name="connsiteY49" fmla="*/ 47040 h 474764"/>
                <a:gd name="connsiteX50" fmla="*/ 416257 w 608989"/>
                <a:gd name="connsiteY50" fmla="*/ 47040 h 474764"/>
                <a:gd name="connsiteX51" fmla="*/ 421743 w 608989"/>
                <a:gd name="connsiteY51" fmla="*/ 47524 h 474764"/>
                <a:gd name="connsiteX52" fmla="*/ 491762 w 608989"/>
                <a:gd name="connsiteY52" fmla="*/ 0 h 474764"/>
                <a:gd name="connsiteX53" fmla="*/ 556941 w 608989"/>
                <a:gd name="connsiteY53" fmla="*/ 37858 h 474764"/>
                <a:gd name="connsiteX54" fmla="*/ 557103 w 608989"/>
                <a:gd name="connsiteY54" fmla="*/ 46396 h 474764"/>
                <a:gd name="connsiteX55" fmla="*/ 549520 w 608989"/>
                <a:gd name="connsiteY55" fmla="*/ 50262 h 474764"/>
                <a:gd name="connsiteX56" fmla="*/ 500635 w 608989"/>
                <a:gd name="connsiteY56" fmla="*/ 50423 h 474764"/>
                <a:gd name="connsiteX57" fmla="*/ 496279 w 608989"/>
                <a:gd name="connsiteY57" fmla="*/ 52357 h 474764"/>
                <a:gd name="connsiteX58" fmla="*/ 495957 w 608989"/>
                <a:gd name="connsiteY58" fmla="*/ 52840 h 474764"/>
                <a:gd name="connsiteX59" fmla="*/ 479823 w 608989"/>
                <a:gd name="connsiteY59" fmla="*/ 75071 h 474764"/>
                <a:gd name="connsiteX60" fmla="*/ 495634 w 608989"/>
                <a:gd name="connsiteY60" fmla="*/ 97142 h 474764"/>
                <a:gd name="connsiteX61" fmla="*/ 495957 w 608989"/>
                <a:gd name="connsiteY61" fmla="*/ 97625 h 474764"/>
                <a:gd name="connsiteX62" fmla="*/ 499345 w 608989"/>
                <a:gd name="connsiteY62" fmla="*/ 99719 h 474764"/>
                <a:gd name="connsiteX63" fmla="*/ 549520 w 608989"/>
                <a:gd name="connsiteY63" fmla="*/ 99880 h 474764"/>
                <a:gd name="connsiteX64" fmla="*/ 556941 w 608989"/>
                <a:gd name="connsiteY64" fmla="*/ 104069 h 474764"/>
                <a:gd name="connsiteX65" fmla="*/ 556941 w 608989"/>
                <a:gd name="connsiteY65" fmla="*/ 112285 h 474764"/>
                <a:gd name="connsiteX66" fmla="*/ 491762 w 608989"/>
                <a:gd name="connsiteY66" fmla="*/ 150304 h 474764"/>
                <a:gd name="connsiteX67" fmla="*/ 421743 w 608989"/>
                <a:gd name="connsiteY67" fmla="*/ 102780 h 474764"/>
                <a:gd name="connsiteX68" fmla="*/ 416257 w 608989"/>
                <a:gd name="connsiteY68" fmla="*/ 103263 h 474764"/>
                <a:gd name="connsiteX69" fmla="*/ 238143 w 608989"/>
                <a:gd name="connsiteY69" fmla="*/ 103263 h 474764"/>
                <a:gd name="connsiteX70" fmla="*/ 168447 w 608989"/>
                <a:gd name="connsiteY70" fmla="*/ 150304 h 474764"/>
                <a:gd name="connsiteX71" fmla="*/ 103267 w 608989"/>
                <a:gd name="connsiteY71" fmla="*/ 112446 h 474764"/>
                <a:gd name="connsiteX72" fmla="*/ 103106 w 608989"/>
                <a:gd name="connsiteY72" fmla="*/ 103908 h 474764"/>
                <a:gd name="connsiteX73" fmla="*/ 110689 w 608989"/>
                <a:gd name="connsiteY73" fmla="*/ 99880 h 474764"/>
                <a:gd name="connsiteX74" fmla="*/ 159573 w 608989"/>
                <a:gd name="connsiteY74" fmla="*/ 99880 h 474764"/>
                <a:gd name="connsiteX75" fmla="*/ 164091 w 608989"/>
                <a:gd name="connsiteY75" fmla="*/ 97786 h 474764"/>
                <a:gd name="connsiteX76" fmla="*/ 164252 w 608989"/>
                <a:gd name="connsiteY76" fmla="*/ 97464 h 474764"/>
                <a:gd name="connsiteX77" fmla="*/ 180385 w 608989"/>
                <a:gd name="connsiteY77" fmla="*/ 75232 h 474764"/>
                <a:gd name="connsiteX78" fmla="*/ 164575 w 608989"/>
                <a:gd name="connsiteY78" fmla="*/ 53162 h 474764"/>
                <a:gd name="connsiteX79" fmla="*/ 164252 w 608989"/>
                <a:gd name="connsiteY79" fmla="*/ 52679 h 474764"/>
                <a:gd name="connsiteX80" fmla="*/ 160864 w 608989"/>
                <a:gd name="connsiteY80" fmla="*/ 50423 h 474764"/>
                <a:gd name="connsiteX81" fmla="*/ 160541 w 608989"/>
                <a:gd name="connsiteY81" fmla="*/ 50423 h 474764"/>
                <a:gd name="connsiteX82" fmla="*/ 110689 w 608989"/>
                <a:gd name="connsiteY82" fmla="*/ 50262 h 474764"/>
                <a:gd name="connsiteX83" fmla="*/ 103267 w 608989"/>
                <a:gd name="connsiteY83" fmla="*/ 46235 h 474764"/>
                <a:gd name="connsiteX84" fmla="*/ 103267 w 608989"/>
                <a:gd name="connsiteY84" fmla="*/ 37858 h 474764"/>
                <a:gd name="connsiteX85" fmla="*/ 168447 w 608989"/>
                <a:gd name="connsiteY85" fmla="*/ 0 h 474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</a:cxnLst>
              <a:rect l="l" t="t" r="r" b="b"/>
              <a:pathLst>
                <a:path w="608989" h="474764">
                  <a:moveTo>
                    <a:pt x="427673" y="372781"/>
                  </a:moveTo>
                  <a:cubicBezTo>
                    <a:pt x="408960" y="372781"/>
                    <a:pt x="393797" y="387926"/>
                    <a:pt x="393797" y="406614"/>
                  </a:cubicBezTo>
                  <a:cubicBezTo>
                    <a:pt x="393797" y="425303"/>
                    <a:pt x="408960" y="440448"/>
                    <a:pt x="427673" y="440448"/>
                  </a:cubicBezTo>
                  <a:cubicBezTo>
                    <a:pt x="446385" y="440448"/>
                    <a:pt x="461549" y="425303"/>
                    <a:pt x="461549" y="406614"/>
                  </a:cubicBezTo>
                  <a:cubicBezTo>
                    <a:pt x="461549" y="387926"/>
                    <a:pt x="446385" y="372781"/>
                    <a:pt x="427673" y="372781"/>
                  </a:cubicBezTo>
                  <a:close/>
                  <a:moveTo>
                    <a:pt x="149568" y="372781"/>
                  </a:moveTo>
                  <a:cubicBezTo>
                    <a:pt x="130855" y="372781"/>
                    <a:pt x="115692" y="387926"/>
                    <a:pt x="115692" y="406614"/>
                  </a:cubicBezTo>
                  <a:cubicBezTo>
                    <a:pt x="115692" y="425303"/>
                    <a:pt x="130855" y="440448"/>
                    <a:pt x="149568" y="440448"/>
                  </a:cubicBezTo>
                  <a:cubicBezTo>
                    <a:pt x="168280" y="440448"/>
                    <a:pt x="183444" y="425303"/>
                    <a:pt x="183444" y="406614"/>
                  </a:cubicBezTo>
                  <a:cubicBezTo>
                    <a:pt x="183444" y="387926"/>
                    <a:pt x="168280" y="372781"/>
                    <a:pt x="149568" y="372781"/>
                  </a:cubicBezTo>
                  <a:close/>
                  <a:moveTo>
                    <a:pt x="413316" y="194754"/>
                  </a:moveTo>
                  <a:lnTo>
                    <a:pt x="413316" y="269348"/>
                  </a:lnTo>
                  <a:lnTo>
                    <a:pt x="477196" y="269348"/>
                  </a:lnTo>
                  <a:cubicBezTo>
                    <a:pt x="486068" y="269348"/>
                    <a:pt x="489133" y="263387"/>
                    <a:pt x="483971" y="256137"/>
                  </a:cubicBezTo>
                  <a:lnTo>
                    <a:pt x="449611" y="207965"/>
                  </a:lnTo>
                  <a:cubicBezTo>
                    <a:pt x="444449" y="200715"/>
                    <a:pt x="432996" y="194754"/>
                    <a:pt x="424124" y="194754"/>
                  </a:cubicBezTo>
                  <a:close/>
                  <a:moveTo>
                    <a:pt x="231999" y="194754"/>
                  </a:moveTo>
                  <a:cubicBezTo>
                    <a:pt x="223127" y="194754"/>
                    <a:pt x="211351" y="200393"/>
                    <a:pt x="205705" y="207321"/>
                  </a:cubicBezTo>
                  <a:lnTo>
                    <a:pt x="165860" y="256782"/>
                  </a:lnTo>
                  <a:cubicBezTo>
                    <a:pt x="160376" y="263709"/>
                    <a:pt x="163118" y="269348"/>
                    <a:pt x="171990" y="269348"/>
                  </a:cubicBezTo>
                  <a:lnTo>
                    <a:pt x="374439" y="269348"/>
                  </a:lnTo>
                  <a:lnTo>
                    <a:pt x="374439" y="194754"/>
                  </a:lnTo>
                  <a:close/>
                  <a:moveTo>
                    <a:pt x="217965" y="162371"/>
                  </a:moveTo>
                  <a:lnTo>
                    <a:pt x="442030" y="162371"/>
                  </a:lnTo>
                  <a:cubicBezTo>
                    <a:pt x="454612" y="162371"/>
                    <a:pt x="470098" y="170427"/>
                    <a:pt x="477196" y="180577"/>
                  </a:cubicBezTo>
                  <a:lnTo>
                    <a:pt x="524783" y="248243"/>
                  </a:lnTo>
                  <a:cubicBezTo>
                    <a:pt x="528816" y="254043"/>
                    <a:pt x="536882" y="257910"/>
                    <a:pt x="544625" y="257910"/>
                  </a:cubicBezTo>
                  <a:cubicBezTo>
                    <a:pt x="546883" y="257910"/>
                    <a:pt x="548819" y="257748"/>
                    <a:pt x="550594" y="257104"/>
                  </a:cubicBezTo>
                  <a:lnTo>
                    <a:pt x="586728" y="245826"/>
                  </a:lnTo>
                  <a:cubicBezTo>
                    <a:pt x="593987" y="243571"/>
                    <a:pt x="600924" y="245021"/>
                    <a:pt x="605118" y="249693"/>
                  </a:cubicBezTo>
                  <a:cubicBezTo>
                    <a:pt x="608183" y="253398"/>
                    <a:pt x="609473" y="258554"/>
                    <a:pt x="608828" y="264354"/>
                  </a:cubicBezTo>
                  <a:lnTo>
                    <a:pt x="590277" y="401942"/>
                  </a:lnTo>
                  <a:cubicBezTo>
                    <a:pt x="588664" y="414992"/>
                    <a:pt x="576565" y="425625"/>
                    <a:pt x="563337" y="425625"/>
                  </a:cubicBezTo>
                  <a:lnTo>
                    <a:pt x="493166" y="425625"/>
                  </a:lnTo>
                  <a:cubicBezTo>
                    <a:pt x="484939" y="453981"/>
                    <a:pt x="458806" y="474764"/>
                    <a:pt x="427673" y="474764"/>
                  </a:cubicBezTo>
                  <a:cubicBezTo>
                    <a:pt x="396700" y="474764"/>
                    <a:pt x="370568" y="453981"/>
                    <a:pt x="362341" y="425625"/>
                  </a:cubicBezTo>
                  <a:lnTo>
                    <a:pt x="215061" y="425625"/>
                  </a:lnTo>
                  <a:cubicBezTo>
                    <a:pt x="206834" y="453981"/>
                    <a:pt x="180540" y="474764"/>
                    <a:pt x="149568" y="474764"/>
                  </a:cubicBezTo>
                  <a:cubicBezTo>
                    <a:pt x="118595" y="474764"/>
                    <a:pt x="92301" y="453981"/>
                    <a:pt x="84074" y="425625"/>
                  </a:cubicBezTo>
                  <a:lnTo>
                    <a:pt x="21485" y="425625"/>
                  </a:lnTo>
                  <a:cubicBezTo>
                    <a:pt x="14871" y="425625"/>
                    <a:pt x="8902" y="423048"/>
                    <a:pt x="4869" y="418214"/>
                  </a:cubicBezTo>
                  <a:cubicBezTo>
                    <a:pt x="836" y="413542"/>
                    <a:pt x="-777" y="407420"/>
                    <a:pt x="352" y="400814"/>
                  </a:cubicBezTo>
                  <a:lnTo>
                    <a:pt x="15516" y="309304"/>
                  </a:lnTo>
                  <a:cubicBezTo>
                    <a:pt x="17613" y="296576"/>
                    <a:pt x="29066" y="284332"/>
                    <a:pt x="41649" y="281593"/>
                  </a:cubicBezTo>
                  <a:lnTo>
                    <a:pt x="95850" y="269348"/>
                  </a:lnTo>
                  <a:cubicBezTo>
                    <a:pt x="105690" y="267093"/>
                    <a:pt x="119241" y="258554"/>
                    <a:pt x="125532" y="250660"/>
                  </a:cubicBezTo>
                  <a:lnTo>
                    <a:pt x="181992" y="179771"/>
                  </a:lnTo>
                  <a:cubicBezTo>
                    <a:pt x="189735" y="169943"/>
                    <a:pt x="205544" y="162371"/>
                    <a:pt x="217965" y="162371"/>
                  </a:cubicBezTo>
                  <a:close/>
                  <a:moveTo>
                    <a:pt x="168447" y="0"/>
                  </a:moveTo>
                  <a:cubicBezTo>
                    <a:pt x="200068" y="0"/>
                    <a:pt x="227011" y="19493"/>
                    <a:pt x="238143" y="47040"/>
                  </a:cubicBezTo>
                  <a:lnTo>
                    <a:pt x="416257" y="47040"/>
                  </a:lnTo>
                  <a:cubicBezTo>
                    <a:pt x="418193" y="47040"/>
                    <a:pt x="419968" y="47202"/>
                    <a:pt x="421743" y="47524"/>
                  </a:cubicBezTo>
                  <a:cubicBezTo>
                    <a:pt x="432875" y="19815"/>
                    <a:pt x="459979" y="0"/>
                    <a:pt x="491762" y="0"/>
                  </a:cubicBezTo>
                  <a:cubicBezTo>
                    <a:pt x="518543" y="0"/>
                    <a:pt x="543550" y="14499"/>
                    <a:pt x="556941" y="37858"/>
                  </a:cubicBezTo>
                  <a:cubicBezTo>
                    <a:pt x="558232" y="39952"/>
                    <a:pt x="558877" y="43335"/>
                    <a:pt x="557103" y="46396"/>
                  </a:cubicBezTo>
                  <a:cubicBezTo>
                    <a:pt x="555651" y="48812"/>
                    <a:pt x="552908" y="50262"/>
                    <a:pt x="549520" y="50262"/>
                  </a:cubicBezTo>
                  <a:cubicBezTo>
                    <a:pt x="549520" y="50262"/>
                    <a:pt x="513703" y="50423"/>
                    <a:pt x="500635" y="50423"/>
                  </a:cubicBezTo>
                  <a:cubicBezTo>
                    <a:pt x="497731" y="50423"/>
                    <a:pt x="496279" y="52357"/>
                    <a:pt x="496279" y="52357"/>
                  </a:cubicBezTo>
                  <a:lnTo>
                    <a:pt x="495957" y="52840"/>
                  </a:lnTo>
                  <a:cubicBezTo>
                    <a:pt x="489019" y="60895"/>
                    <a:pt x="481275" y="71366"/>
                    <a:pt x="479823" y="75071"/>
                  </a:cubicBezTo>
                  <a:cubicBezTo>
                    <a:pt x="481275" y="78777"/>
                    <a:pt x="489019" y="89087"/>
                    <a:pt x="495634" y="97142"/>
                  </a:cubicBezTo>
                  <a:lnTo>
                    <a:pt x="495957" y="97625"/>
                  </a:lnTo>
                  <a:cubicBezTo>
                    <a:pt x="496441" y="98269"/>
                    <a:pt x="498054" y="99719"/>
                    <a:pt x="499345" y="99719"/>
                  </a:cubicBezTo>
                  <a:cubicBezTo>
                    <a:pt x="511929" y="99719"/>
                    <a:pt x="549520" y="99880"/>
                    <a:pt x="549520" y="99880"/>
                  </a:cubicBezTo>
                  <a:cubicBezTo>
                    <a:pt x="552747" y="99880"/>
                    <a:pt x="555489" y="101491"/>
                    <a:pt x="556941" y="104069"/>
                  </a:cubicBezTo>
                  <a:cubicBezTo>
                    <a:pt x="558393" y="106485"/>
                    <a:pt x="558393" y="109868"/>
                    <a:pt x="556941" y="112285"/>
                  </a:cubicBezTo>
                  <a:cubicBezTo>
                    <a:pt x="543550" y="135644"/>
                    <a:pt x="518543" y="150304"/>
                    <a:pt x="491762" y="150304"/>
                  </a:cubicBezTo>
                  <a:cubicBezTo>
                    <a:pt x="459979" y="150304"/>
                    <a:pt x="432875" y="130489"/>
                    <a:pt x="421743" y="102780"/>
                  </a:cubicBezTo>
                  <a:cubicBezTo>
                    <a:pt x="419968" y="103102"/>
                    <a:pt x="418193" y="103263"/>
                    <a:pt x="416257" y="103263"/>
                  </a:cubicBezTo>
                  <a:lnTo>
                    <a:pt x="238143" y="103263"/>
                  </a:lnTo>
                  <a:cubicBezTo>
                    <a:pt x="227011" y="130811"/>
                    <a:pt x="200068" y="150304"/>
                    <a:pt x="168447" y="150304"/>
                  </a:cubicBezTo>
                  <a:cubicBezTo>
                    <a:pt x="141665" y="150304"/>
                    <a:pt x="116658" y="135805"/>
                    <a:pt x="103267" y="112446"/>
                  </a:cubicBezTo>
                  <a:cubicBezTo>
                    <a:pt x="101977" y="110352"/>
                    <a:pt x="101331" y="106969"/>
                    <a:pt x="103106" y="103908"/>
                  </a:cubicBezTo>
                  <a:cubicBezTo>
                    <a:pt x="104558" y="101330"/>
                    <a:pt x="107301" y="99880"/>
                    <a:pt x="110689" y="99880"/>
                  </a:cubicBezTo>
                  <a:cubicBezTo>
                    <a:pt x="110689" y="99880"/>
                    <a:pt x="146505" y="99880"/>
                    <a:pt x="159573" y="99880"/>
                  </a:cubicBezTo>
                  <a:cubicBezTo>
                    <a:pt x="162477" y="99880"/>
                    <a:pt x="163929" y="98108"/>
                    <a:pt x="164091" y="97786"/>
                  </a:cubicBezTo>
                  <a:lnTo>
                    <a:pt x="164252" y="97464"/>
                  </a:lnTo>
                  <a:cubicBezTo>
                    <a:pt x="171189" y="89248"/>
                    <a:pt x="178933" y="78777"/>
                    <a:pt x="180385" y="75232"/>
                  </a:cubicBezTo>
                  <a:cubicBezTo>
                    <a:pt x="178933" y="71527"/>
                    <a:pt x="171189" y="61217"/>
                    <a:pt x="164575" y="53162"/>
                  </a:cubicBezTo>
                  <a:lnTo>
                    <a:pt x="164252" y="52679"/>
                  </a:lnTo>
                  <a:cubicBezTo>
                    <a:pt x="163768" y="52034"/>
                    <a:pt x="162155" y="50423"/>
                    <a:pt x="160864" y="50423"/>
                  </a:cubicBezTo>
                  <a:lnTo>
                    <a:pt x="160541" y="50423"/>
                  </a:lnTo>
                  <a:cubicBezTo>
                    <a:pt x="147796" y="50423"/>
                    <a:pt x="110689" y="50262"/>
                    <a:pt x="110689" y="50262"/>
                  </a:cubicBezTo>
                  <a:cubicBezTo>
                    <a:pt x="107462" y="50262"/>
                    <a:pt x="104719" y="48812"/>
                    <a:pt x="103267" y="46235"/>
                  </a:cubicBezTo>
                  <a:cubicBezTo>
                    <a:pt x="101815" y="43657"/>
                    <a:pt x="101654" y="40435"/>
                    <a:pt x="103267" y="37858"/>
                  </a:cubicBezTo>
                  <a:cubicBezTo>
                    <a:pt x="116497" y="14499"/>
                    <a:pt x="141665" y="0"/>
                    <a:pt x="168447" y="0"/>
                  </a:cubicBezTo>
                  <a:close/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F07FCA8E-138D-4B09-AE37-5CF5EC3C1F21}"/>
                </a:ext>
              </a:extLst>
            </p:cNvPr>
            <p:cNvGrpSpPr/>
            <p:nvPr/>
          </p:nvGrpSpPr>
          <p:grpSpPr>
            <a:xfrm>
              <a:off x="4046263" y="3823307"/>
              <a:ext cx="2202035" cy="571512"/>
              <a:chOff x="3173814" y="3758441"/>
              <a:chExt cx="2202035" cy="571512"/>
            </a:xfrm>
          </p:grpSpPr>
          <p:sp>
            <p:nvSpPr>
              <p:cNvPr id="41" name="矩形 40">
                <a:extLst>
                  <a:ext uri="{FF2B5EF4-FFF2-40B4-BE49-F238E27FC236}">
                    <a16:creationId xmlns:a16="http://schemas.microsoft.com/office/drawing/2014/main" id="{73DA5CA1-A22D-45FF-B355-18D3880E7B99}"/>
                  </a:ext>
                </a:extLst>
              </p:cNvPr>
              <p:cNvSpPr/>
              <p:nvPr/>
            </p:nvSpPr>
            <p:spPr>
              <a:xfrm>
                <a:off x="3173814" y="3835621"/>
                <a:ext cx="1475627" cy="410188"/>
              </a:xfrm>
              <a:prstGeom prst="rect">
                <a:avLst/>
              </a:prstGeom>
              <a:noFill/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r">
                  <a:lnSpc>
                    <a:spcPct val="120000"/>
                  </a:lnSpc>
                </a:pPr>
                <a:r>
                  <a:rPr lang="zh-CN" altLang="en-US" sz="1400" b="1" dirty="0">
                    <a:solidFill>
                      <a:schemeClr val="tx1"/>
                    </a:solidFill>
                    <a:cs typeface="+mn-ea"/>
                    <a:sym typeface="+mn-lt"/>
                  </a:rPr>
                  <a:t>提升设计能力</a:t>
                </a:r>
              </a:p>
            </p:txBody>
          </p:sp>
          <p:grpSp>
            <p:nvGrpSpPr>
              <p:cNvPr id="38" name="组合 37">
                <a:extLst>
                  <a:ext uri="{FF2B5EF4-FFF2-40B4-BE49-F238E27FC236}">
                    <a16:creationId xmlns:a16="http://schemas.microsoft.com/office/drawing/2014/main" id="{86486CC2-5E93-4D2E-80BC-76B71D836D7A}"/>
                  </a:ext>
                </a:extLst>
              </p:cNvPr>
              <p:cNvGrpSpPr/>
              <p:nvPr/>
            </p:nvGrpSpPr>
            <p:grpSpPr>
              <a:xfrm>
                <a:off x="4804337" y="3758441"/>
                <a:ext cx="571512" cy="571512"/>
                <a:chOff x="4123765" y="2164043"/>
                <a:chExt cx="457200" cy="457200"/>
              </a:xfrm>
            </p:grpSpPr>
            <p:sp>
              <p:nvSpPr>
                <p:cNvPr id="39" name="椭圆 38">
                  <a:extLst>
                    <a:ext uri="{FF2B5EF4-FFF2-40B4-BE49-F238E27FC236}">
                      <a16:creationId xmlns:a16="http://schemas.microsoft.com/office/drawing/2014/main" id="{E42C9284-D739-422D-9A57-BBF7C6DC5955}"/>
                    </a:ext>
                  </a:extLst>
                </p:cNvPr>
                <p:cNvSpPr/>
                <p:nvPr/>
              </p:nvSpPr>
              <p:spPr>
                <a:xfrm>
                  <a:off x="4123765" y="2164043"/>
                  <a:ext cx="457200" cy="457200"/>
                </a:xfrm>
                <a:prstGeom prst="ellipse">
                  <a:avLst/>
                </a:prstGeom>
                <a:solidFill>
                  <a:schemeClr val="accent2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40" name="任意多边形: 形状 39">
                  <a:extLst>
                    <a:ext uri="{FF2B5EF4-FFF2-40B4-BE49-F238E27FC236}">
                      <a16:creationId xmlns:a16="http://schemas.microsoft.com/office/drawing/2014/main" id="{2D655768-F3A4-47C3-9239-C953AB809C94}"/>
                    </a:ext>
                  </a:extLst>
                </p:cNvPr>
                <p:cNvSpPr/>
                <p:nvPr/>
              </p:nvSpPr>
              <p:spPr>
                <a:xfrm>
                  <a:off x="4243855" y="2308048"/>
                  <a:ext cx="217020" cy="169187"/>
                </a:xfrm>
                <a:custGeom>
                  <a:avLst/>
                  <a:gdLst>
                    <a:gd name="connsiteX0" fmla="*/ 427673 w 608989"/>
                    <a:gd name="connsiteY0" fmla="*/ 372781 h 474764"/>
                    <a:gd name="connsiteX1" fmla="*/ 393797 w 608989"/>
                    <a:gd name="connsiteY1" fmla="*/ 406614 h 474764"/>
                    <a:gd name="connsiteX2" fmla="*/ 427673 w 608989"/>
                    <a:gd name="connsiteY2" fmla="*/ 440448 h 474764"/>
                    <a:gd name="connsiteX3" fmla="*/ 461549 w 608989"/>
                    <a:gd name="connsiteY3" fmla="*/ 406614 h 474764"/>
                    <a:gd name="connsiteX4" fmla="*/ 427673 w 608989"/>
                    <a:gd name="connsiteY4" fmla="*/ 372781 h 474764"/>
                    <a:gd name="connsiteX5" fmla="*/ 149568 w 608989"/>
                    <a:gd name="connsiteY5" fmla="*/ 372781 h 474764"/>
                    <a:gd name="connsiteX6" fmla="*/ 115692 w 608989"/>
                    <a:gd name="connsiteY6" fmla="*/ 406614 h 474764"/>
                    <a:gd name="connsiteX7" fmla="*/ 149568 w 608989"/>
                    <a:gd name="connsiteY7" fmla="*/ 440448 h 474764"/>
                    <a:gd name="connsiteX8" fmla="*/ 183444 w 608989"/>
                    <a:gd name="connsiteY8" fmla="*/ 406614 h 474764"/>
                    <a:gd name="connsiteX9" fmla="*/ 149568 w 608989"/>
                    <a:gd name="connsiteY9" fmla="*/ 372781 h 474764"/>
                    <a:gd name="connsiteX10" fmla="*/ 413316 w 608989"/>
                    <a:gd name="connsiteY10" fmla="*/ 194754 h 474764"/>
                    <a:gd name="connsiteX11" fmla="*/ 413316 w 608989"/>
                    <a:gd name="connsiteY11" fmla="*/ 269348 h 474764"/>
                    <a:gd name="connsiteX12" fmla="*/ 477196 w 608989"/>
                    <a:gd name="connsiteY12" fmla="*/ 269348 h 474764"/>
                    <a:gd name="connsiteX13" fmla="*/ 483971 w 608989"/>
                    <a:gd name="connsiteY13" fmla="*/ 256137 h 474764"/>
                    <a:gd name="connsiteX14" fmla="*/ 449611 w 608989"/>
                    <a:gd name="connsiteY14" fmla="*/ 207965 h 474764"/>
                    <a:gd name="connsiteX15" fmla="*/ 424124 w 608989"/>
                    <a:gd name="connsiteY15" fmla="*/ 194754 h 474764"/>
                    <a:gd name="connsiteX16" fmla="*/ 231999 w 608989"/>
                    <a:gd name="connsiteY16" fmla="*/ 194754 h 474764"/>
                    <a:gd name="connsiteX17" fmla="*/ 205705 w 608989"/>
                    <a:gd name="connsiteY17" fmla="*/ 207321 h 474764"/>
                    <a:gd name="connsiteX18" fmla="*/ 165860 w 608989"/>
                    <a:gd name="connsiteY18" fmla="*/ 256782 h 474764"/>
                    <a:gd name="connsiteX19" fmla="*/ 171990 w 608989"/>
                    <a:gd name="connsiteY19" fmla="*/ 269348 h 474764"/>
                    <a:gd name="connsiteX20" fmla="*/ 374439 w 608989"/>
                    <a:gd name="connsiteY20" fmla="*/ 269348 h 474764"/>
                    <a:gd name="connsiteX21" fmla="*/ 374439 w 608989"/>
                    <a:gd name="connsiteY21" fmla="*/ 194754 h 474764"/>
                    <a:gd name="connsiteX22" fmla="*/ 217965 w 608989"/>
                    <a:gd name="connsiteY22" fmla="*/ 162371 h 474764"/>
                    <a:gd name="connsiteX23" fmla="*/ 442030 w 608989"/>
                    <a:gd name="connsiteY23" fmla="*/ 162371 h 474764"/>
                    <a:gd name="connsiteX24" fmla="*/ 477196 w 608989"/>
                    <a:gd name="connsiteY24" fmla="*/ 180577 h 474764"/>
                    <a:gd name="connsiteX25" fmla="*/ 524783 w 608989"/>
                    <a:gd name="connsiteY25" fmla="*/ 248243 h 474764"/>
                    <a:gd name="connsiteX26" fmla="*/ 544625 w 608989"/>
                    <a:gd name="connsiteY26" fmla="*/ 257910 h 474764"/>
                    <a:gd name="connsiteX27" fmla="*/ 550594 w 608989"/>
                    <a:gd name="connsiteY27" fmla="*/ 257104 h 474764"/>
                    <a:gd name="connsiteX28" fmla="*/ 586728 w 608989"/>
                    <a:gd name="connsiteY28" fmla="*/ 245826 h 474764"/>
                    <a:gd name="connsiteX29" fmla="*/ 605118 w 608989"/>
                    <a:gd name="connsiteY29" fmla="*/ 249693 h 474764"/>
                    <a:gd name="connsiteX30" fmla="*/ 608828 w 608989"/>
                    <a:gd name="connsiteY30" fmla="*/ 264354 h 474764"/>
                    <a:gd name="connsiteX31" fmla="*/ 590277 w 608989"/>
                    <a:gd name="connsiteY31" fmla="*/ 401942 h 474764"/>
                    <a:gd name="connsiteX32" fmla="*/ 563337 w 608989"/>
                    <a:gd name="connsiteY32" fmla="*/ 425625 h 474764"/>
                    <a:gd name="connsiteX33" fmla="*/ 493166 w 608989"/>
                    <a:gd name="connsiteY33" fmla="*/ 425625 h 474764"/>
                    <a:gd name="connsiteX34" fmla="*/ 427673 w 608989"/>
                    <a:gd name="connsiteY34" fmla="*/ 474764 h 474764"/>
                    <a:gd name="connsiteX35" fmla="*/ 362341 w 608989"/>
                    <a:gd name="connsiteY35" fmla="*/ 425625 h 474764"/>
                    <a:gd name="connsiteX36" fmla="*/ 215061 w 608989"/>
                    <a:gd name="connsiteY36" fmla="*/ 425625 h 474764"/>
                    <a:gd name="connsiteX37" fmla="*/ 149568 w 608989"/>
                    <a:gd name="connsiteY37" fmla="*/ 474764 h 474764"/>
                    <a:gd name="connsiteX38" fmla="*/ 84074 w 608989"/>
                    <a:gd name="connsiteY38" fmla="*/ 425625 h 474764"/>
                    <a:gd name="connsiteX39" fmla="*/ 21485 w 608989"/>
                    <a:gd name="connsiteY39" fmla="*/ 425625 h 474764"/>
                    <a:gd name="connsiteX40" fmla="*/ 4869 w 608989"/>
                    <a:gd name="connsiteY40" fmla="*/ 418214 h 474764"/>
                    <a:gd name="connsiteX41" fmla="*/ 352 w 608989"/>
                    <a:gd name="connsiteY41" fmla="*/ 400814 h 474764"/>
                    <a:gd name="connsiteX42" fmla="*/ 15516 w 608989"/>
                    <a:gd name="connsiteY42" fmla="*/ 309304 h 474764"/>
                    <a:gd name="connsiteX43" fmla="*/ 41649 w 608989"/>
                    <a:gd name="connsiteY43" fmla="*/ 281593 h 474764"/>
                    <a:gd name="connsiteX44" fmla="*/ 95850 w 608989"/>
                    <a:gd name="connsiteY44" fmla="*/ 269348 h 474764"/>
                    <a:gd name="connsiteX45" fmla="*/ 125532 w 608989"/>
                    <a:gd name="connsiteY45" fmla="*/ 250660 h 474764"/>
                    <a:gd name="connsiteX46" fmla="*/ 181992 w 608989"/>
                    <a:gd name="connsiteY46" fmla="*/ 179771 h 474764"/>
                    <a:gd name="connsiteX47" fmla="*/ 217965 w 608989"/>
                    <a:gd name="connsiteY47" fmla="*/ 162371 h 474764"/>
                    <a:gd name="connsiteX48" fmla="*/ 168447 w 608989"/>
                    <a:gd name="connsiteY48" fmla="*/ 0 h 474764"/>
                    <a:gd name="connsiteX49" fmla="*/ 238143 w 608989"/>
                    <a:gd name="connsiteY49" fmla="*/ 47040 h 474764"/>
                    <a:gd name="connsiteX50" fmla="*/ 416257 w 608989"/>
                    <a:gd name="connsiteY50" fmla="*/ 47040 h 474764"/>
                    <a:gd name="connsiteX51" fmla="*/ 421743 w 608989"/>
                    <a:gd name="connsiteY51" fmla="*/ 47524 h 474764"/>
                    <a:gd name="connsiteX52" fmla="*/ 491762 w 608989"/>
                    <a:gd name="connsiteY52" fmla="*/ 0 h 474764"/>
                    <a:gd name="connsiteX53" fmla="*/ 556941 w 608989"/>
                    <a:gd name="connsiteY53" fmla="*/ 37858 h 474764"/>
                    <a:gd name="connsiteX54" fmla="*/ 557103 w 608989"/>
                    <a:gd name="connsiteY54" fmla="*/ 46396 h 474764"/>
                    <a:gd name="connsiteX55" fmla="*/ 549520 w 608989"/>
                    <a:gd name="connsiteY55" fmla="*/ 50262 h 474764"/>
                    <a:gd name="connsiteX56" fmla="*/ 500635 w 608989"/>
                    <a:gd name="connsiteY56" fmla="*/ 50423 h 474764"/>
                    <a:gd name="connsiteX57" fmla="*/ 496279 w 608989"/>
                    <a:gd name="connsiteY57" fmla="*/ 52357 h 474764"/>
                    <a:gd name="connsiteX58" fmla="*/ 495957 w 608989"/>
                    <a:gd name="connsiteY58" fmla="*/ 52840 h 474764"/>
                    <a:gd name="connsiteX59" fmla="*/ 479823 w 608989"/>
                    <a:gd name="connsiteY59" fmla="*/ 75071 h 474764"/>
                    <a:gd name="connsiteX60" fmla="*/ 495634 w 608989"/>
                    <a:gd name="connsiteY60" fmla="*/ 97142 h 474764"/>
                    <a:gd name="connsiteX61" fmla="*/ 495957 w 608989"/>
                    <a:gd name="connsiteY61" fmla="*/ 97625 h 474764"/>
                    <a:gd name="connsiteX62" fmla="*/ 499345 w 608989"/>
                    <a:gd name="connsiteY62" fmla="*/ 99719 h 474764"/>
                    <a:gd name="connsiteX63" fmla="*/ 549520 w 608989"/>
                    <a:gd name="connsiteY63" fmla="*/ 99880 h 474764"/>
                    <a:gd name="connsiteX64" fmla="*/ 556941 w 608989"/>
                    <a:gd name="connsiteY64" fmla="*/ 104069 h 474764"/>
                    <a:gd name="connsiteX65" fmla="*/ 556941 w 608989"/>
                    <a:gd name="connsiteY65" fmla="*/ 112285 h 474764"/>
                    <a:gd name="connsiteX66" fmla="*/ 491762 w 608989"/>
                    <a:gd name="connsiteY66" fmla="*/ 150304 h 474764"/>
                    <a:gd name="connsiteX67" fmla="*/ 421743 w 608989"/>
                    <a:gd name="connsiteY67" fmla="*/ 102780 h 474764"/>
                    <a:gd name="connsiteX68" fmla="*/ 416257 w 608989"/>
                    <a:gd name="connsiteY68" fmla="*/ 103263 h 474764"/>
                    <a:gd name="connsiteX69" fmla="*/ 238143 w 608989"/>
                    <a:gd name="connsiteY69" fmla="*/ 103263 h 474764"/>
                    <a:gd name="connsiteX70" fmla="*/ 168447 w 608989"/>
                    <a:gd name="connsiteY70" fmla="*/ 150304 h 474764"/>
                    <a:gd name="connsiteX71" fmla="*/ 103267 w 608989"/>
                    <a:gd name="connsiteY71" fmla="*/ 112446 h 474764"/>
                    <a:gd name="connsiteX72" fmla="*/ 103106 w 608989"/>
                    <a:gd name="connsiteY72" fmla="*/ 103908 h 474764"/>
                    <a:gd name="connsiteX73" fmla="*/ 110689 w 608989"/>
                    <a:gd name="connsiteY73" fmla="*/ 99880 h 474764"/>
                    <a:gd name="connsiteX74" fmla="*/ 159573 w 608989"/>
                    <a:gd name="connsiteY74" fmla="*/ 99880 h 474764"/>
                    <a:gd name="connsiteX75" fmla="*/ 164091 w 608989"/>
                    <a:gd name="connsiteY75" fmla="*/ 97786 h 474764"/>
                    <a:gd name="connsiteX76" fmla="*/ 164252 w 608989"/>
                    <a:gd name="connsiteY76" fmla="*/ 97464 h 474764"/>
                    <a:gd name="connsiteX77" fmla="*/ 180385 w 608989"/>
                    <a:gd name="connsiteY77" fmla="*/ 75232 h 474764"/>
                    <a:gd name="connsiteX78" fmla="*/ 164575 w 608989"/>
                    <a:gd name="connsiteY78" fmla="*/ 53162 h 474764"/>
                    <a:gd name="connsiteX79" fmla="*/ 164252 w 608989"/>
                    <a:gd name="connsiteY79" fmla="*/ 52679 h 474764"/>
                    <a:gd name="connsiteX80" fmla="*/ 160864 w 608989"/>
                    <a:gd name="connsiteY80" fmla="*/ 50423 h 474764"/>
                    <a:gd name="connsiteX81" fmla="*/ 160541 w 608989"/>
                    <a:gd name="connsiteY81" fmla="*/ 50423 h 474764"/>
                    <a:gd name="connsiteX82" fmla="*/ 110689 w 608989"/>
                    <a:gd name="connsiteY82" fmla="*/ 50262 h 474764"/>
                    <a:gd name="connsiteX83" fmla="*/ 103267 w 608989"/>
                    <a:gd name="connsiteY83" fmla="*/ 46235 h 474764"/>
                    <a:gd name="connsiteX84" fmla="*/ 103267 w 608989"/>
                    <a:gd name="connsiteY84" fmla="*/ 37858 h 474764"/>
                    <a:gd name="connsiteX85" fmla="*/ 168447 w 608989"/>
                    <a:gd name="connsiteY85" fmla="*/ 0 h 474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</a:cxnLst>
                  <a:rect l="l" t="t" r="r" b="b"/>
                  <a:pathLst>
                    <a:path w="608989" h="474764">
                      <a:moveTo>
                        <a:pt x="427673" y="372781"/>
                      </a:moveTo>
                      <a:cubicBezTo>
                        <a:pt x="408960" y="372781"/>
                        <a:pt x="393797" y="387926"/>
                        <a:pt x="393797" y="406614"/>
                      </a:cubicBezTo>
                      <a:cubicBezTo>
                        <a:pt x="393797" y="425303"/>
                        <a:pt x="408960" y="440448"/>
                        <a:pt x="427673" y="440448"/>
                      </a:cubicBezTo>
                      <a:cubicBezTo>
                        <a:pt x="446385" y="440448"/>
                        <a:pt x="461549" y="425303"/>
                        <a:pt x="461549" y="406614"/>
                      </a:cubicBezTo>
                      <a:cubicBezTo>
                        <a:pt x="461549" y="387926"/>
                        <a:pt x="446385" y="372781"/>
                        <a:pt x="427673" y="372781"/>
                      </a:cubicBezTo>
                      <a:close/>
                      <a:moveTo>
                        <a:pt x="149568" y="372781"/>
                      </a:moveTo>
                      <a:cubicBezTo>
                        <a:pt x="130855" y="372781"/>
                        <a:pt x="115692" y="387926"/>
                        <a:pt x="115692" y="406614"/>
                      </a:cubicBezTo>
                      <a:cubicBezTo>
                        <a:pt x="115692" y="425303"/>
                        <a:pt x="130855" y="440448"/>
                        <a:pt x="149568" y="440448"/>
                      </a:cubicBezTo>
                      <a:cubicBezTo>
                        <a:pt x="168280" y="440448"/>
                        <a:pt x="183444" y="425303"/>
                        <a:pt x="183444" y="406614"/>
                      </a:cubicBezTo>
                      <a:cubicBezTo>
                        <a:pt x="183444" y="387926"/>
                        <a:pt x="168280" y="372781"/>
                        <a:pt x="149568" y="372781"/>
                      </a:cubicBezTo>
                      <a:close/>
                      <a:moveTo>
                        <a:pt x="413316" y="194754"/>
                      </a:moveTo>
                      <a:lnTo>
                        <a:pt x="413316" y="269348"/>
                      </a:lnTo>
                      <a:lnTo>
                        <a:pt x="477196" y="269348"/>
                      </a:lnTo>
                      <a:cubicBezTo>
                        <a:pt x="486068" y="269348"/>
                        <a:pt x="489133" y="263387"/>
                        <a:pt x="483971" y="256137"/>
                      </a:cubicBezTo>
                      <a:lnTo>
                        <a:pt x="449611" y="207965"/>
                      </a:lnTo>
                      <a:cubicBezTo>
                        <a:pt x="444449" y="200715"/>
                        <a:pt x="432996" y="194754"/>
                        <a:pt x="424124" y="194754"/>
                      </a:cubicBezTo>
                      <a:close/>
                      <a:moveTo>
                        <a:pt x="231999" y="194754"/>
                      </a:moveTo>
                      <a:cubicBezTo>
                        <a:pt x="223127" y="194754"/>
                        <a:pt x="211351" y="200393"/>
                        <a:pt x="205705" y="207321"/>
                      </a:cubicBezTo>
                      <a:lnTo>
                        <a:pt x="165860" y="256782"/>
                      </a:lnTo>
                      <a:cubicBezTo>
                        <a:pt x="160376" y="263709"/>
                        <a:pt x="163118" y="269348"/>
                        <a:pt x="171990" y="269348"/>
                      </a:cubicBezTo>
                      <a:lnTo>
                        <a:pt x="374439" y="269348"/>
                      </a:lnTo>
                      <a:lnTo>
                        <a:pt x="374439" y="194754"/>
                      </a:lnTo>
                      <a:close/>
                      <a:moveTo>
                        <a:pt x="217965" y="162371"/>
                      </a:moveTo>
                      <a:lnTo>
                        <a:pt x="442030" y="162371"/>
                      </a:lnTo>
                      <a:cubicBezTo>
                        <a:pt x="454612" y="162371"/>
                        <a:pt x="470098" y="170427"/>
                        <a:pt x="477196" y="180577"/>
                      </a:cubicBezTo>
                      <a:lnTo>
                        <a:pt x="524783" y="248243"/>
                      </a:lnTo>
                      <a:cubicBezTo>
                        <a:pt x="528816" y="254043"/>
                        <a:pt x="536882" y="257910"/>
                        <a:pt x="544625" y="257910"/>
                      </a:cubicBezTo>
                      <a:cubicBezTo>
                        <a:pt x="546883" y="257910"/>
                        <a:pt x="548819" y="257748"/>
                        <a:pt x="550594" y="257104"/>
                      </a:cubicBezTo>
                      <a:lnTo>
                        <a:pt x="586728" y="245826"/>
                      </a:lnTo>
                      <a:cubicBezTo>
                        <a:pt x="593987" y="243571"/>
                        <a:pt x="600924" y="245021"/>
                        <a:pt x="605118" y="249693"/>
                      </a:cubicBezTo>
                      <a:cubicBezTo>
                        <a:pt x="608183" y="253398"/>
                        <a:pt x="609473" y="258554"/>
                        <a:pt x="608828" y="264354"/>
                      </a:cubicBezTo>
                      <a:lnTo>
                        <a:pt x="590277" y="401942"/>
                      </a:lnTo>
                      <a:cubicBezTo>
                        <a:pt x="588664" y="414992"/>
                        <a:pt x="576565" y="425625"/>
                        <a:pt x="563337" y="425625"/>
                      </a:cubicBezTo>
                      <a:lnTo>
                        <a:pt x="493166" y="425625"/>
                      </a:lnTo>
                      <a:cubicBezTo>
                        <a:pt x="484939" y="453981"/>
                        <a:pt x="458806" y="474764"/>
                        <a:pt x="427673" y="474764"/>
                      </a:cubicBezTo>
                      <a:cubicBezTo>
                        <a:pt x="396700" y="474764"/>
                        <a:pt x="370568" y="453981"/>
                        <a:pt x="362341" y="425625"/>
                      </a:cubicBezTo>
                      <a:lnTo>
                        <a:pt x="215061" y="425625"/>
                      </a:lnTo>
                      <a:cubicBezTo>
                        <a:pt x="206834" y="453981"/>
                        <a:pt x="180540" y="474764"/>
                        <a:pt x="149568" y="474764"/>
                      </a:cubicBezTo>
                      <a:cubicBezTo>
                        <a:pt x="118595" y="474764"/>
                        <a:pt x="92301" y="453981"/>
                        <a:pt x="84074" y="425625"/>
                      </a:cubicBezTo>
                      <a:lnTo>
                        <a:pt x="21485" y="425625"/>
                      </a:lnTo>
                      <a:cubicBezTo>
                        <a:pt x="14871" y="425625"/>
                        <a:pt x="8902" y="423048"/>
                        <a:pt x="4869" y="418214"/>
                      </a:cubicBezTo>
                      <a:cubicBezTo>
                        <a:pt x="836" y="413542"/>
                        <a:pt x="-777" y="407420"/>
                        <a:pt x="352" y="400814"/>
                      </a:cubicBezTo>
                      <a:lnTo>
                        <a:pt x="15516" y="309304"/>
                      </a:lnTo>
                      <a:cubicBezTo>
                        <a:pt x="17613" y="296576"/>
                        <a:pt x="29066" y="284332"/>
                        <a:pt x="41649" y="281593"/>
                      </a:cubicBezTo>
                      <a:lnTo>
                        <a:pt x="95850" y="269348"/>
                      </a:lnTo>
                      <a:cubicBezTo>
                        <a:pt x="105690" y="267093"/>
                        <a:pt x="119241" y="258554"/>
                        <a:pt x="125532" y="250660"/>
                      </a:cubicBezTo>
                      <a:lnTo>
                        <a:pt x="181992" y="179771"/>
                      </a:lnTo>
                      <a:cubicBezTo>
                        <a:pt x="189735" y="169943"/>
                        <a:pt x="205544" y="162371"/>
                        <a:pt x="217965" y="162371"/>
                      </a:cubicBezTo>
                      <a:close/>
                      <a:moveTo>
                        <a:pt x="168447" y="0"/>
                      </a:moveTo>
                      <a:cubicBezTo>
                        <a:pt x="200068" y="0"/>
                        <a:pt x="227011" y="19493"/>
                        <a:pt x="238143" y="47040"/>
                      </a:cubicBezTo>
                      <a:lnTo>
                        <a:pt x="416257" y="47040"/>
                      </a:lnTo>
                      <a:cubicBezTo>
                        <a:pt x="418193" y="47040"/>
                        <a:pt x="419968" y="47202"/>
                        <a:pt x="421743" y="47524"/>
                      </a:cubicBezTo>
                      <a:cubicBezTo>
                        <a:pt x="432875" y="19815"/>
                        <a:pt x="459979" y="0"/>
                        <a:pt x="491762" y="0"/>
                      </a:cubicBezTo>
                      <a:cubicBezTo>
                        <a:pt x="518543" y="0"/>
                        <a:pt x="543550" y="14499"/>
                        <a:pt x="556941" y="37858"/>
                      </a:cubicBezTo>
                      <a:cubicBezTo>
                        <a:pt x="558232" y="39952"/>
                        <a:pt x="558877" y="43335"/>
                        <a:pt x="557103" y="46396"/>
                      </a:cubicBezTo>
                      <a:cubicBezTo>
                        <a:pt x="555651" y="48812"/>
                        <a:pt x="552908" y="50262"/>
                        <a:pt x="549520" y="50262"/>
                      </a:cubicBezTo>
                      <a:cubicBezTo>
                        <a:pt x="549520" y="50262"/>
                        <a:pt x="513703" y="50423"/>
                        <a:pt x="500635" y="50423"/>
                      </a:cubicBezTo>
                      <a:cubicBezTo>
                        <a:pt x="497731" y="50423"/>
                        <a:pt x="496279" y="52357"/>
                        <a:pt x="496279" y="52357"/>
                      </a:cubicBezTo>
                      <a:lnTo>
                        <a:pt x="495957" y="52840"/>
                      </a:lnTo>
                      <a:cubicBezTo>
                        <a:pt x="489019" y="60895"/>
                        <a:pt x="481275" y="71366"/>
                        <a:pt x="479823" y="75071"/>
                      </a:cubicBezTo>
                      <a:cubicBezTo>
                        <a:pt x="481275" y="78777"/>
                        <a:pt x="489019" y="89087"/>
                        <a:pt x="495634" y="97142"/>
                      </a:cubicBezTo>
                      <a:lnTo>
                        <a:pt x="495957" y="97625"/>
                      </a:lnTo>
                      <a:cubicBezTo>
                        <a:pt x="496441" y="98269"/>
                        <a:pt x="498054" y="99719"/>
                        <a:pt x="499345" y="99719"/>
                      </a:cubicBezTo>
                      <a:cubicBezTo>
                        <a:pt x="511929" y="99719"/>
                        <a:pt x="549520" y="99880"/>
                        <a:pt x="549520" y="99880"/>
                      </a:cubicBezTo>
                      <a:cubicBezTo>
                        <a:pt x="552747" y="99880"/>
                        <a:pt x="555489" y="101491"/>
                        <a:pt x="556941" y="104069"/>
                      </a:cubicBezTo>
                      <a:cubicBezTo>
                        <a:pt x="558393" y="106485"/>
                        <a:pt x="558393" y="109868"/>
                        <a:pt x="556941" y="112285"/>
                      </a:cubicBezTo>
                      <a:cubicBezTo>
                        <a:pt x="543550" y="135644"/>
                        <a:pt x="518543" y="150304"/>
                        <a:pt x="491762" y="150304"/>
                      </a:cubicBezTo>
                      <a:cubicBezTo>
                        <a:pt x="459979" y="150304"/>
                        <a:pt x="432875" y="130489"/>
                        <a:pt x="421743" y="102780"/>
                      </a:cubicBezTo>
                      <a:cubicBezTo>
                        <a:pt x="419968" y="103102"/>
                        <a:pt x="418193" y="103263"/>
                        <a:pt x="416257" y="103263"/>
                      </a:cubicBezTo>
                      <a:lnTo>
                        <a:pt x="238143" y="103263"/>
                      </a:lnTo>
                      <a:cubicBezTo>
                        <a:pt x="227011" y="130811"/>
                        <a:pt x="200068" y="150304"/>
                        <a:pt x="168447" y="150304"/>
                      </a:cubicBezTo>
                      <a:cubicBezTo>
                        <a:pt x="141665" y="150304"/>
                        <a:pt x="116658" y="135805"/>
                        <a:pt x="103267" y="112446"/>
                      </a:cubicBezTo>
                      <a:cubicBezTo>
                        <a:pt x="101977" y="110352"/>
                        <a:pt x="101331" y="106969"/>
                        <a:pt x="103106" y="103908"/>
                      </a:cubicBezTo>
                      <a:cubicBezTo>
                        <a:pt x="104558" y="101330"/>
                        <a:pt x="107301" y="99880"/>
                        <a:pt x="110689" y="99880"/>
                      </a:cubicBezTo>
                      <a:cubicBezTo>
                        <a:pt x="110689" y="99880"/>
                        <a:pt x="146505" y="99880"/>
                        <a:pt x="159573" y="99880"/>
                      </a:cubicBezTo>
                      <a:cubicBezTo>
                        <a:pt x="162477" y="99880"/>
                        <a:pt x="163929" y="98108"/>
                        <a:pt x="164091" y="97786"/>
                      </a:cubicBezTo>
                      <a:lnTo>
                        <a:pt x="164252" y="97464"/>
                      </a:lnTo>
                      <a:cubicBezTo>
                        <a:pt x="171189" y="89248"/>
                        <a:pt x="178933" y="78777"/>
                        <a:pt x="180385" y="75232"/>
                      </a:cubicBezTo>
                      <a:cubicBezTo>
                        <a:pt x="178933" y="71527"/>
                        <a:pt x="171189" y="61217"/>
                        <a:pt x="164575" y="53162"/>
                      </a:cubicBezTo>
                      <a:lnTo>
                        <a:pt x="164252" y="52679"/>
                      </a:lnTo>
                      <a:cubicBezTo>
                        <a:pt x="163768" y="52034"/>
                        <a:pt x="162155" y="50423"/>
                        <a:pt x="160864" y="50423"/>
                      </a:cubicBezTo>
                      <a:lnTo>
                        <a:pt x="160541" y="50423"/>
                      </a:lnTo>
                      <a:cubicBezTo>
                        <a:pt x="147796" y="50423"/>
                        <a:pt x="110689" y="50262"/>
                        <a:pt x="110689" y="50262"/>
                      </a:cubicBezTo>
                      <a:cubicBezTo>
                        <a:pt x="107462" y="50262"/>
                        <a:pt x="104719" y="48812"/>
                        <a:pt x="103267" y="46235"/>
                      </a:cubicBezTo>
                      <a:cubicBezTo>
                        <a:pt x="101815" y="43657"/>
                        <a:pt x="101654" y="40435"/>
                        <a:pt x="103267" y="37858"/>
                      </a:cubicBezTo>
                      <a:cubicBezTo>
                        <a:pt x="116497" y="14499"/>
                        <a:pt x="141665" y="0"/>
                        <a:pt x="168447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</p:grpSp>
        <p:sp>
          <p:nvSpPr>
            <p:cNvPr id="35" name="矩形 34">
              <a:extLst>
                <a:ext uri="{FF2B5EF4-FFF2-40B4-BE49-F238E27FC236}">
                  <a16:creationId xmlns:a16="http://schemas.microsoft.com/office/drawing/2014/main" id="{73DA5CA1-A22D-45FF-B355-18D3880E7B99}"/>
                </a:ext>
              </a:extLst>
            </p:cNvPr>
            <p:cNvSpPr/>
            <p:nvPr/>
          </p:nvSpPr>
          <p:spPr>
            <a:xfrm>
              <a:off x="2587301" y="1636679"/>
              <a:ext cx="1475627" cy="410188"/>
            </a:xfrm>
            <a:prstGeom prst="rect">
              <a:avLst/>
            </a:prstGeom>
            <a:no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lvl="0" algn="r">
                <a:lnSpc>
                  <a:spcPct val="120000"/>
                </a:lnSpc>
              </a:pPr>
              <a:endParaRPr lang="zh-CN" altLang="en-US" sz="14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4E057718-C525-4239-AD72-665683D64B06}"/>
                </a:ext>
              </a:extLst>
            </p:cNvPr>
            <p:cNvGrpSpPr/>
            <p:nvPr/>
          </p:nvGrpSpPr>
          <p:grpSpPr>
            <a:xfrm>
              <a:off x="6530859" y="5358084"/>
              <a:ext cx="2042181" cy="571511"/>
              <a:chOff x="8294591" y="1935010"/>
              <a:chExt cx="2042181" cy="571511"/>
            </a:xfrm>
          </p:grpSpPr>
          <p:sp>
            <p:nvSpPr>
              <p:cNvPr id="29" name="矩形 28">
                <a:extLst>
                  <a:ext uri="{FF2B5EF4-FFF2-40B4-BE49-F238E27FC236}">
                    <a16:creationId xmlns:a16="http://schemas.microsoft.com/office/drawing/2014/main" id="{73DA5CA1-A22D-45FF-B355-18D3880E7B99}"/>
                  </a:ext>
                </a:extLst>
              </p:cNvPr>
              <p:cNvSpPr/>
              <p:nvPr/>
            </p:nvSpPr>
            <p:spPr>
              <a:xfrm>
                <a:off x="8861145" y="1975210"/>
                <a:ext cx="1475627" cy="410188"/>
              </a:xfrm>
              <a:prstGeom prst="rect">
                <a:avLst/>
              </a:prstGeom>
              <a:noFill/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 fontScale="850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r">
                  <a:lnSpc>
                    <a:spcPct val="120000"/>
                  </a:lnSpc>
                </a:pPr>
                <a:r>
                  <a:rPr lang="zh-CN" altLang="en-US" sz="1400" b="1" dirty="0">
                    <a:solidFill>
                      <a:schemeClr val="tx1"/>
                    </a:solidFill>
                    <a:cs typeface="+mn-ea"/>
                    <a:sym typeface="+mn-lt"/>
                  </a:rPr>
                  <a:t>提高语言表达能力</a:t>
                </a:r>
              </a:p>
            </p:txBody>
          </p:sp>
          <p:grpSp>
            <p:nvGrpSpPr>
              <p:cNvPr id="26" name="组合 25">
                <a:extLst>
                  <a:ext uri="{FF2B5EF4-FFF2-40B4-BE49-F238E27FC236}">
                    <a16:creationId xmlns:a16="http://schemas.microsoft.com/office/drawing/2014/main" id="{A549C12F-D854-4E06-8FCF-A6C4205D3A00}"/>
                  </a:ext>
                </a:extLst>
              </p:cNvPr>
              <p:cNvGrpSpPr/>
              <p:nvPr/>
            </p:nvGrpSpPr>
            <p:grpSpPr>
              <a:xfrm>
                <a:off x="8294591" y="1935010"/>
                <a:ext cx="571511" cy="571511"/>
                <a:chOff x="4123761" y="2164045"/>
                <a:chExt cx="457199" cy="457200"/>
              </a:xfrm>
            </p:grpSpPr>
            <p:sp>
              <p:nvSpPr>
                <p:cNvPr id="27" name="椭圆 26">
                  <a:extLst>
                    <a:ext uri="{FF2B5EF4-FFF2-40B4-BE49-F238E27FC236}">
                      <a16:creationId xmlns:a16="http://schemas.microsoft.com/office/drawing/2014/main" id="{BB32049B-DA0A-4AB6-9355-38619354BE89}"/>
                    </a:ext>
                  </a:extLst>
                </p:cNvPr>
                <p:cNvSpPr/>
                <p:nvPr/>
              </p:nvSpPr>
              <p:spPr>
                <a:xfrm>
                  <a:off x="4123761" y="2164045"/>
                  <a:ext cx="457199" cy="457200"/>
                </a:xfrm>
                <a:prstGeom prst="ellipse">
                  <a:avLst/>
                </a:prstGeom>
                <a:solidFill>
                  <a:schemeClr val="accent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28" name="任意多边形: 形状 27">
                  <a:extLst>
                    <a:ext uri="{FF2B5EF4-FFF2-40B4-BE49-F238E27FC236}">
                      <a16:creationId xmlns:a16="http://schemas.microsoft.com/office/drawing/2014/main" id="{E98F2050-1522-49DF-B318-D067AF9F1922}"/>
                    </a:ext>
                  </a:extLst>
                </p:cNvPr>
                <p:cNvSpPr/>
                <p:nvPr/>
              </p:nvSpPr>
              <p:spPr>
                <a:xfrm>
                  <a:off x="4243854" y="2308048"/>
                  <a:ext cx="217020" cy="169187"/>
                </a:xfrm>
                <a:custGeom>
                  <a:avLst/>
                  <a:gdLst>
                    <a:gd name="connsiteX0" fmla="*/ 427673 w 608989"/>
                    <a:gd name="connsiteY0" fmla="*/ 372781 h 474764"/>
                    <a:gd name="connsiteX1" fmla="*/ 393797 w 608989"/>
                    <a:gd name="connsiteY1" fmla="*/ 406614 h 474764"/>
                    <a:gd name="connsiteX2" fmla="*/ 427673 w 608989"/>
                    <a:gd name="connsiteY2" fmla="*/ 440448 h 474764"/>
                    <a:gd name="connsiteX3" fmla="*/ 461549 w 608989"/>
                    <a:gd name="connsiteY3" fmla="*/ 406614 h 474764"/>
                    <a:gd name="connsiteX4" fmla="*/ 427673 w 608989"/>
                    <a:gd name="connsiteY4" fmla="*/ 372781 h 474764"/>
                    <a:gd name="connsiteX5" fmla="*/ 149568 w 608989"/>
                    <a:gd name="connsiteY5" fmla="*/ 372781 h 474764"/>
                    <a:gd name="connsiteX6" fmla="*/ 115692 w 608989"/>
                    <a:gd name="connsiteY6" fmla="*/ 406614 h 474764"/>
                    <a:gd name="connsiteX7" fmla="*/ 149568 w 608989"/>
                    <a:gd name="connsiteY7" fmla="*/ 440448 h 474764"/>
                    <a:gd name="connsiteX8" fmla="*/ 183444 w 608989"/>
                    <a:gd name="connsiteY8" fmla="*/ 406614 h 474764"/>
                    <a:gd name="connsiteX9" fmla="*/ 149568 w 608989"/>
                    <a:gd name="connsiteY9" fmla="*/ 372781 h 474764"/>
                    <a:gd name="connsiteX10" fmla="*/ 413316 w 608989"/>
                    <a:gd name="connsiteY10" fmla="*/ 194754 h 474764"/>
                    <a:gd name="connsiteX11" fmla="*/ 413316 w 608989"/>
                    <a:gd name="connsiteY11" fmla="*/ 269348 h 474764"/>
                    <a:gd name="connsiteX12" fmla="*/ 477196 w 608989"/>
                    <a:gd name="connsiteY12" fmla="*/ 269348 h 474764"/>
                    <a:gd name="connsiteX13" fmla="*/ 483971 w 608989"/>
                    <a:gd name="connsiteY13" fmla="*/ 256137 h 474764"/>
                    <a:gd name="connsiteX14" fmla="*/ 449611 w 608989"/>
                    <a:gd name="connsiteY14" fmla="*/ 207965 h 474764"/>
                    <a:gd name="connsiteX15" fmla="*/ 424124 w 608989"/>
                    <a:gd name="connsiteY15" fmla="*/ 194754 h 474764"/>
                    <a:gd name="connsiteX16" fmla="*/ 231999 w 608989"/>
                    <a:gd name="connsiteY16" fmla="*/ 194754 h 474764"/>
                    <a:gd name="connsiteX17" fmla="*/ 205705 w 608989"/>
                    <a:gd name="connsiteY17" fmla="*/ 207321 h 474764"/>
                    <a:gd name="connsiteX18" fmla="*/ 165860 w 608989"/>
                    <a:gd name="connsiteY18" fmla="*/ 256782 h 474764"/>
                    <a:gd name="connsiteX19" fmla="*/ 171990 w 608989"/>
                    <a:gd name="connsiteY19" fmla="*/ 269348 h 474764"/>
                    <a:gd name="connsiteX20" fmla="*/ 374439 w 608989"/>
                    <a:gd name="connsiteY20" fmla="*/ 269348 h 474764"/>
                    <a:gd name="connsiteX21" fmla="*/ 374439 w 608989"/>
                    <a:gd name="connsiteY21" fmla="*/ 194754 h 474764"/>
                    <a:gd name="connsiteX22" fmla="*/ 217965 w 608989"/>
                    <a:gd name="connsiteY22" fmla="*/ 162371 h 474764"/>
                    <a:gd name="connsiteX23" fmla="*/ 442030 w 608989"/>
                    <a:gd name="connsiteY23" fmla="*/ 162371 h 474764"/>
                    <a:gd name="connsiteX24" fmla="*/ 477196 w 608989"/>
                    <a:gd name="connsiteY24" fmla="*/ 180577 h 474764"/>
                    <a:gd name="connsiteX25" fmla="*/ 524783 w 608989"/>
                    <a:gd name="connsiteY25" fmla="*/ 248243 h 474764"/>
                    <a:gd name="connsiteX26" fmla="*/ 544625 w 608989"/>
                    <a:gd name="connsiteY26" fmla="*/ 257910 h 474764"/>
                    <a:gd name="connsiteX27" fmla="*/ 550594 w 608989"/>
                    <a:gd name="connsiteY27" fmla="*/ 257104 h 474764"/>
                    <a:gd name="connsiteX28" fmla="*/ 586728 w 608989"/>
                    <a:gd name="connsiteY28" fmla="*/ 245826 h 474764"/>
                    <a:gd name="connsiteX29" fmla="*/ 605118 w 608989"/>
                    <a:gd name="connsiteY29" fmla="*/ 249693 h 474764"/>
                    <a:gd name="connsiteX30" fmla="*/ 608828 w 608989"/>
                    <a:gd name="connsiteY30" fmla="*/ 264354 h 474764"/>
                    <a:gd name="connsiteX31" fmla="*/ 590277 w 608989"/>
                    <a:gd name="connsiteY31" fmla="*/ 401942 h 474764"/>
                    <a:gd name="connsiteX32" fmla="*/ 563337 w 608989"/>
                    <a:gd name="connsiteY32" fmla="*/ 425625 h 474764"/>
                    <a:gd name="connsiteX33" fmla="*/ 493166 w 608989"/>
                    <a:gd name="connsiteY33" fmla="*/ 425625 h 474764"/>
                    <a:gd name="connsiteX34" fmla="*/ 427673 w 608989"/>
                    <a:gd name="connsiteY34" fmla="*/ 474764 h 474764"/>
                    <a:gd name="connsiteX35" fmla="*/ 362341 w 608989"/>
                    <a:gd name="connsiteY35" fmla="*/ 425625 h 474764"/>
                    <a:gd name="connsiteX36" fmla="*/ 215061 w 608989"/>
                    <a:gd name="connsiteY36" fmla="*/ 425625 h 474764"/>
                    <a:gd name="connsiteX37" fmla="*/ 149568 w 608989"/>
                    <a:gd name="connsiteY37" fmla="*/ 474764 h 474764"/>
                    <a:gd name="connsiteX38" fmla="*/ 84074 w 608989"/>
                    <a:gd name="connsiteY38" fmla="*/ 425625 h 474764"/>
                    <a:gd name="connsiteX39" fmla="*/ 21485 w 608989"/>
                    <a:gd name="connsiteY39" fmla="*/ 425625 h 474764"/>
                    <a:gd name="connsiteX40" fmla="*/ 4869 w 608989"/>
                    <a:gd name="connsiteY40" fmla="*/ 418214 h 474764"/>
                    <a:gd name="connsiteX41" fmla="*/ 352 w 608989"/>
                    <a:gd name="connsiteY41" fmla="*/ 400814 h 474764"/>
                    <a:gd name="connsiteX42" fmla="*/ 15516 w 608989"/>
                    <a:gd name="connsiteY42" fmla="*/ 309304 h 474764"/>
                    <a:gd name="connsiteX43" fmla="*/ 41649 w 608989"/>
                    <a:gd name="connsiteY43" fmla="*/ 281593 h 474764"/>
                    <a:gd name="connsiteX44" fmla="*/ 95850 w 608989"/>
                    <a:gd name="connsiteY44" fmla="*/ 269348 h 474764"/>
                    <a:gd name="connsiteX45" fmla="*/ 125532 w 608989"/>
                    <a:gd name="connsiteY45" fmla="*/ 250660 h 474764"/>
                    <a:gd name="connsiteX46" fmla="*/ 181992 w 608989"/>
                    <a:gd name="connsiteY46" fmla="*/ 179771 h 474764"/>
                    <a:gd name="connsiteX47" fmla="*/ 217965 w 608989"/>
                    <a:gd name="connsiteY47" fmla="*/ 162371 h 474764"/>
                    <a:gd name="connsiteX48" fmla="*/ 168447 w 608989"/>
                    <a:gd name="connsiteY48" fmla="*/ 0 h 474764"/>
                    <a:gd name="connsiteX49" fmla="*/ 238143 w 608989"/>
                    <a:gd name="connsiteY49" fmla="*/ 47040 h 474764"/>
                    <a:gd name="connsiteX50" fmla="*/ 416257 w 608989"/>
                    <a:gd name="connsiteY50" fmla="*/ 47040 h 474764"/>
                    <a:gd name="connsiteX51" fmla="*/ 421743 w 608989"/>
                    <a:gd name="connsiteY51" fmla="*/ 47524 h 474764"/>
                    <a:gd name="connsiteX52" fmla="*/ 491762 w 608989"/>
                    <a:gd name="connsiteY52" fmla="*/ 0 h 474764"/>
                    <a:gd name="connsiteX53" fmla="*/ 556941 w 608989"/>
                    <a:gd name="connsiteY53" fmla="*/ 37858 h 474764"/>
                    <a:gd name="connsiteX54" fmla="*/ 557103 w 608989"/>
                    <a:gd name="connsiteY54" fmla="*/ 46396 h 474764"/>
                    <a:gd name="connsiteX55" fmla="*/ 549520 w 608989"/>
                    <a:gd name="connsiteY55" fmla="*/ 50262 h 474764"/>
                    <a:gd name="connsiteX56" fmla="*/ 500635 w 608989"/>
                    <a:gd name="connsiteY56" fmla="*/ 50423 h 474764"/>
                    <a:gd name="connsiteX57" fmla="*/ 496279 w 608989"/>
                    <a:gd name="connsiteY57" fmla="*/ 52357 h 474764"/>
                    <a:gd name="connsiteX58" fmla="*/ 495957 w 608989"/>
                    <a:gd name="connsiteY58" fmla="*/ 52840 h 474764"/>
                    <a:gd name="connsiteX59" fmla="*/ 479823 w 608989"/>
                    <a:gd name="connsiteY59" fmla="*/ 75071 h 474764"/>
                    <a:gd name="connsiteX60" fmla="*/ 495634 w 608989"/>
                    <a:gd name="connsiteY60" fmla="*/ 97142 h 474764"/>
                    <a:gd name="connsiteX61" fmla="*/ 495957 w 608989"/>
                    <a:gd name="connsiteY61" fmla="*/ 97625 h 474764"/>
                    <a:gd name="connsiteX62" fmla="*/ 499345 w 608989"/>
                    <a:gd name="connsiteY62" fmla="*/ 99719 h 474764"/>
                    <a:gd name="connsiteX63" fmla="*/ 549520 w 608989"/>
                    <a:gd name="connsiteY63" fmla="*/ 99880 h 474764"/>
                    <a:gd name="connsiteX64" fmla="*/ 556941 w 608989"/>
                    <a:gd name="connsiteY64" fmla="*/ 104069 h 474764"/>
                    <a:gd name="connsiteX65" fmla="*/ 556941 w 608989"/>
                    <a:gd name="connsiteY65" fmla="*/ 112285 h 474764"/>
                    <a:gd name="connsiteX66" fmla="*/ 491762 w 608989"/>
                    <a:gd name="connsiteY66" fmla="*/ 150304 h 474764"/>
                    <a:gd name="connsiteX67" fmla="*/ 421743 w 608989"/>
                    <a:gd name="connsiteY67" fmla="*/ 102780 h 474764"/>
                    <a:gd name="connsiteX68" fmla="*/ 416257 w 608989"/>
                    <a:gd name="connsiteY68" fmla="*/ 103263 h 474764"/>
                    <a:gd name="connsiteX69" fmla="*/ 238143 w 608989"/>
                    <a:gd name="connsiteY69" fmla="*/ 103263 h 474764"/>
                    <a:gd name="connsiteX70" fmla="*/ 168447 w 608989"/>
                    <a:gd name="connsiteY70" fmla="*/ 150304 h 474764"/>
                    <a:gd name="connsiteX71" fmla="*/ 103267 w 608989"/>
                    <a:gd name="connsiteY71" fmla="*/ 112446 h 474764"/>
                    <a:gd name="connsiteX72" fmla="*/ 103106 w 608989"/>
                    <a:gd name="connsiteY72" fmla="*/ 103908 h 474764"/>
                    <a:gd name="connsiteX73" fmla="*/ 110689 w 608989"/>
                    <a:gd name="connsiteY73" fmla="*/ 99880 h 474764"/>
                    <a:gd name="connsiteX74" fmla="*/ 159573 w 608989"/>
                    <a:gd name="connsiteY74" fmla="*/ 99880 h 474764"/>
                    <a:gd name="connsiteX75" fmla="*/ 164091 w 608989"/>
                    <a:gd name="connsiteY75" fmla="*/ 97786 h 474764"/>
                    <a:gd name="connsiteX76" fmla="*/ 164252 w 608989"/>
                    <a:gd name="connsiteY76" fmla="*/ 97464 h 474764"/>
                    <a:gd name="connsiteX77" fmla="*/ 180385 w 608989"/>
                    <a:gd name="connsiteY77" fmla="*/ 75232 h 474764"/>
                    <a:gd name="connsiteX78" fmla="*/ 164575 w 608989"/>
                    <a:gd name="connsiteY78" fmla="*/ 53162 h 474764"/>
                    <a:gd name="connsiteX79" fmla="*/ 164252 w 608989"/>
                    <a:gd name="connsiteY79" fmla="*/ 52679 h 474764"/>
                    <a:gd name="connsiteX80" fmla="*/ 160864 w 608989"/>
                    <a:gd name="connsiteY80" fmla="*/ 50423 h 474764"/>
                    <a:gd name="connsiteX81" fmla="*/ 160541 w 608989"/>
                    <a:gd name="connsiteY81" fmla="*/ 50423 h 474764"/>
                    <a:gd name="connsiteX82" fmla="*/ 110689 w 608989"/>
                    <a:gd name="connsiteY82" fmla="*/ 50262 h 474764"/>
                    <a:gd name="connsiteX83" fmla="*/ 103267 w 608989"/>
                    <a:gd name="connsiteY83" fmla="*/ 46235 h 474764"/>
                    <a:gd name="connsiteX84" fmla="*/ 103267 w 608989"/>
                    <a:gd name="connsiteY84" fmla="*/ 37858 h 474764"/>
                    <a:gd name="connsiteX85" fmla="*/ 168447 w 608989"/>
                    <a:gd name="connsiteY85" fmla="*/ 0 h 474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</a:cxnLst>
                  <a:rect l="l" t="t" r="r" b="b"/>
                  <a:pathLst>
                    <a:path w="608989" h="474764">
                      <a:moveTo>
                        <a:pt x="427673" y="372781"/>
                      </a:moveTo>
                      <a:cubicBezTo>
                        <a:pt x="408960" y="372781"/>
                        <a:pt x="393797" y="387926"/>
                        <a:pt x="393797" y="406614"/>
                      </a:cubicBezTo>
                      <a:cubicBezTo>
                        <a:pt x="393797" y="425303"/>
                        <a:pt x="408960" y="440448"/>
                        <a:pt x="427673" y="440448"/>
                      </a:cubicBezTo>
                      <a:cubicBezTo>
                        <a:pt x="446385" y="440448"/>
                        <a:pt x="461549" y="425303"/>
                        <a:pt x="461549" y="406614"/>
                      </a:cubicBezTo>
                      <a:cubicBezTo>
                        <a:pt x="461549" y="387926"/>
                        <a:pt x="446385" y="372781"/>
                        <a:pt x="427673" y="372781"/>
                      </a:cubicBezTo>
                      <a:close/>
                      <a:moveTo>
                        <a:pt x="149568" y="372781"/>
                      </a:moveTo>
                      <a:cubicBezTo>
                        <a:pt x="130855" y="372781"/>
                        <a:pt x="115692" y="387926"/>
                        <a:pt x="115692" y="406614"/>
                      </a:cubicBezTo>
                      <a:cubicBezTo>
                        <a:pt x="115692" y="425303"/>
                        <a:pt x="130855" y="440448"/>
                        <a:pt x="149568" y="440448"/>
                      </a:cubicBezTo>
                      <a:cubicBezTo>
                        <a:pt x="168280" y="440448"/>
                        <a:pt x="183444" y="425303"/>
                        <a:pt x="183444" y="406614"/>
                      </a:cubicBezTo>
                      <a:cubicBezTo>
                        <a:pt x="183444" y="387926"/>
                        <a:pt x="168280" y="372781"/>
                        <a:pt x="149568" y="372781"/>
                      </a:cubicBezTo>
                      <a:close/>
                      <a:moveTo>
                        <a:pt x="413316" y="194754"/>
                      </a:moveTo>
                      <a:lnTo>
                        <a:pt x="413316" y="269348"/>
                      </a:lnTo>
                      <a:lnTo>
                        <a:pt x="477196" y="269348"/>
                      </a:lnTo>
                      <a:cubicBezTo>
                        <a:pt x="486068" y="269348"/>
                        <a:pt x="489133" y="263387"/>
                        <a:pt x="483971" y="256137"/>
                      </a:cubicBezTo>
                      <a:lnTo>
                        <a:pt x="449611" y="207965"/>
                      </a:lnTo>
                      <a:cubicBezTo>
                        <a:pt x="444449" y="200715"/>
                        <a:pt x="432996" y="194754"/>
                        <a:pt x="424124" y="194754"/>
                      </a:cubicBezTo>
                      <a:close/>
                      <a:moveTo>
                        <a:pt x="231999" y="194754"/>
                      </a:moveTo>
                      <a:cubicBezTo>
                        <a:pt x="223127" y="194754"/>
                        <a:pt x="211351" y="200393"/>
                        <a:pt x="205705" y="207321"/>
                      </a:cubicBezTo>
                      <a:lnTo>
                        <a:pt x="165860" y="256782"/>
                      </a:lnTo>
                      <a:cubicBezTo>
                        <a:pt x="160376" y="263709"/>
                        <a:pt x="163118" y="269348"/>
                        <a:pt x="171990" y="269348"/>
                      </a:cubicBezTo>
                      <a:lnTo>
                        <a:pt x="374439" y="269348"/>
                      </a:lnTo>
                      <a:lnTo>
                        <a:pt x="374439" y="194754"/>
                      </a:lnTo>
                      <a:close/>
                      <a:moveTo>
                        <a:pt x="217965" y="162371"/>
                      </a:moveTo>
                      <a:lnTo>
                        <a:pt x="442030" y="162371"/>
                      </a:lnTo>
                      <a:cubicBezTo>
                        <a:pt x="454612" y="162371"/>
                        <a:pt x="470098" y="170427"/>
                        <a:pt x="477196" y="180577"/>
                      </a:cubicBezTo>
                      <a:lnTo>
                        <a:pt x="524783" y="248243"/>
                      </a:lnTo>
                      <a:cubicBezTo>
                        <a:pt x="528816" y="254043"/>
                        <a:pt x="536882" y="257910"/>
                        <a:pt x="544625" y="257910"/>
                      </a:cubicBezTo>
                      <a:cubicBezTo>
                        <a:pt x="546883" y="257910"/>
                        <a:pt x="548819" y="257748"/>
                        <a:pt x="550594" y="257104"/>
                      </a:cubicBezTo>
                      <a:lnTo>
                        <a:pt x="586728" y="245826"/>
                      </a:lnTo>
                      <a:cubicBezTo>
                        <a:pt x="593987" y="243571"/>
                        <a:pt x="600924" y="245021"/>
                        <a:pt x="605118" y="249693"/>
                      </a:cubicBezTo>
                      <a:cubicBezTo>
                        <a:pt x="608183" y="253398"/>
                        <a:pt x="609473" y="258554"/>
                        <a:pt x="608828" y="264354"/>
                      </a:cubicBezTo>
                      <a:lnTo>
                        <a:pt x="590277" y="401942"/>
                      </a:lnTo>
                      <a:cubicBezTo>
                        <a:pt x="588664" y="414992"/>
                        <a:pt x="576565" y="425625"/>
                        <a:pt x="563337" y="425625"/>
                      </a:cubicBezTo>
                      <a:lnTo>
                        <a:pt x="493166" y="425625"/>
                      </a:lnTo>
                      <a:cubicBezTo>
                        <a:pt x="484939" y="453981"/>
                        <a:pt x="458806" y="474764"/>
                        <a:pt x="427673" y="474764"/>
                      </a:cubicBezTo>
                      <a:cubicBezTo>
                        <a:pt x="396700" y="474764"/>
                        <a:pt x="370568" y="453981"/>
                        <a:pt x="362341" y="425625"/>
                      </a:cubicBezTo>
                      <a:lnTo>
                        <a:pt x="215061" y="425625"/>
                      </a:lnTo>
                      <a:cubicBezTo>
                        <a:pt x="206834" y="453981"/>
                        <a:pt x="180540" y="474764"/>
                        <a:pt x="149568" y="474764"/>
                      </a:cubicBezTo>
                      <a:cubicBezTo>
                        <a:pt x="118595" y="474764"/>
                        <a:pt x="92301" y="453981"/>
                        <a:pt x="84074" y="425625"/>
                      </a:cubicBezTo>
                      <a:lnTo>
                        <a:pt x="21485" y="425625"/>
                      </a:lnTo>
                      <a:cubicBezTo>
                        <a:pt x="14871" y="425625"/>
                        <a:pt x="8902" y="423048"/>
                        <a:pt x="4869" y="418214"/>
                      </a:cubicBezTo>
                      <a:cubicBezTo>
                        <a:pt x="836" y="413542"/>
                        <a:pt x="-777" y="407420"/>
                        <a:pt x="352" y="400814"/>
                      </a:cubicBezTo>
                      <a:lnTo>
                        <a:pt x="15516" y="309304"/>
                      </a:lnTo>
                      <a:cubicBezTo>
                        <a:pt x="17613" y="296576"/>
                        <a:pt x="29066" y="284332"/>
                        <a:pt x="41649" y="281593"/>
                      </a:cubicBezTo>
                      <a:lnTo>
                        <a:pt x="95850" y="269348"/>
                      </a:lnTo>
                      <a:cubicBezTo>
                        <a:pt x="105690" y="267093"/>
                        <a:pt x="119241" y="258554"/>
                        <a:pt x="125532" y="250660"/>
                      </a:cubicBezTo>
                      <a:lnTo>
                        <a:pt x="181992" y="179771"/>
                      </a:lnTo>
                      <a:cubicBezTo>
                        <a:pt x="189735" y="169943"/>
                        <a:pt x="205544" y="162371"/>
                        <a:pt x="217965" y="162371"/>
                      </a:cubicBezTo>
                      <a:close/>
                      <a:moveTo>
                        <a:pt x="168447" y="0"/>
                      </a:moveTo>
                      <a:cubicBezTo>
                        <a:pt x="200068" y="0"/>
                        <a:pt x="227011" y="19493"/>
                        <a:pt x="238143" y="47040"/>
                      </a:cubicBezTo>
                      <a:lnTo>
                        <a:pt x="416257" y="47040"/>
                      </a:lnTo>
                      <a:cubicBezTo>
                        <a:pt x="418193" y="47040"/>
                        <a:pt x="419968" y="47202"/>
                        <a:pt x="421743" y="47524"/>
                      </a:cubicBezTo>
                      <a:cubicBezTo>
                        <a:pt x="432875" y="19815"/>
                        <a:pt x="459979" y="0"/>
                        <a:pt x="491762" y="0"/>
                      </a:cubicBezTo>
                      <a:cubicBezTo>
                        <a:pt x="518543" y="0"/>
                        <a:pt x="543550" y="14499"/>
                        <a:pt x="556941" y="37858"/>
                      </a:cubicBezTo>
                      <a:cubicBezTo>
                        <a:pt x="558232" y="39952"/>
                        <a:pt x="558877" y="43335"/>
                        <a:pt x="557103" y="46396"/>
                      </a:cubicBezTo>
                      <a:cubicBezTo>
                        <a:pt x="555651" y="48812"/>
                        <a:pt x="552908" y="50262"/>
                        <a:pt x="549520" y="50262"/>
                      </a:cubicBezTo>
                      <a:cubicBezTo>
                        <a:pt x="549520" y="50262"/>
                        <a:pt x="513703" y="50423"/>
                        <a:pt x="500635" y="50423"/>
                      </a:cubicBezTo>
                      <a:cubicBezTo>
                        <a:pt x="497731" y="50423"/>
                        <a:pt x="496279" y="52357"/>
                        <a:pt x="496279" y="52357"/>
                      </a:cubicBezTo>
                      <a:lnTo>
                        <a:pt x="495957" y="52840"/>
                      </a:lnTo>
                      <a:cubicBezTo>
                        <a:pt x="489019" y="60895"/>
                        <a:pt x="481275" y="71366"/>
                        <a:pt x="479823" y="75071"/>
                      </a:cubicBezTo>
                      <a:cubicBezTo>
                        <a:pt x="481275" y="78777"/>
                        <a:pt x="489019" y="89087"/>
                        <a:pt x="495634" y="97142"/>
                      </a:cubicBezTo>
                      <a:lnTo>
                        <a:pt x="495957" y="97625"/>
                      </a:lnTo>
                      <a:cubicBezTo>
                        <a:pt x="496441" y="98269"/>
                        <a:pt x="498054" y="99719"/>
                        <a:pt x="499345" y="99719"/>
                      </a:cubicBezTo>
                      <a:cubicBezTo>
                        <a:pt x="511929" y="99719"/>
                        <a:pt x="549520" y="99880"/>
                        <a:pt x="549520" y="99880"/>
                      </a:cubicBezTo>
                      <a:cubicBezTo>
                        <a:pt x="552747" y="99880"/>
                        <a:pt x="555489" y="101491"/>
                        <a:pt x="556941" y="104069"/>
                      </a:cubicBezTo>
                      <a:cubicBezTo>
                        <a:pt x="558393" y="106485"/>
                        <a:pt x="558393" y="109868"/>
                        <a:pt x="556941" y="112285"/>
                      </a:cubicBezTo>
                      <a:cubicBezTo>
                        <a:pt x="543550" y="135644"/>
                        <a:pt x="518543" y="150304"/>
                        <a:pt x="491762" y="150304"/>
                      </a:cubicBezTo>
                      <a:cubicBezTo>
                        <a:pt x="459979" y="150304"/>
                        <a:pt x="432875" y="130489"/>
                        <a:pt x="421743" y="102780"/>
                      </a:cubicBezTo>
                      <a:cubicBezTo>
                        <a:pt x="419968" y="103102"/>
                        <a:pt x="418193" y="103263"/>
                        <a:pt x="416257" y="103263"/>
                      </a:cubicBezTo>
                      <a:lnTo>
                        <a:pt x="238143" y="103263"/>
                      </a:lnTo>
                      <a:cubicBezTo>
                        <a:pt x="227011" y="130811"/>
                        <a:pt x="200068" y="150304"/>
                        <a:pt x="168447" y="150304"/>
                      </a:cubicBezTo>
                      <a:cubicBezTo>
                        <a:pt x="141665" y="150304"/>
                        <a:pt x="116658" y="135805"/>
                        <a:pt x="103267" y="112446"/>
                      </a:cubicBezTo>
                      <a:cubicBezTo>
                        <a:pt x="101977" y="110352"/>
                        <a:pt x="101331" y="106969"/>
                        <a:pt x="103106" y="103908"/>
                      </a:cubicBezTo>
                      <a:cubicBezTo>
                        <a:pt x="104558" y="101330"/>
                        <a:pt x="107301" y="99880"/>
                        <a:pt x="110689" y="99880"/>
                      </a:cubicBezTo>
                      <a:cubicBezTo>
                        <a:pt x="110689" y="99880"/>
                        <a:pt x="146505" y="99880"/>
                        <a:pt x="159573" y="99880"/>
                      </a:cubicBezTo>
                      <a:cubicBezTo>
                        <a:pt x="162477" y="99880"/>
                        <a:pt x="163929" y="98108"/>
                        <a:pt x="164091" y="97786"/>
                      </a:cubicBezTo>
                      <a:lnTo>
                        <a:pt x="164252" y="97464"/>
                      </a:lnTo>
                      <a:cubicBezTo>
                        <a:pt x="171189" y="89248"/>
                        <a:pt x="178933" y="78777"/>
                        <a:pt x="180385" y="75232"/>
                      </a:cubicBezTo>
                      <a:cubicBezTo>
                        <a:pt x="178933" y="71527"/>
                        <a:pt x="171189" y="61217"/>
                        <a:pt x="164575" y="53162"/>
                      </a:cubicBezTo>
                      <a:lnTo>
                        <a:pt x="164252" y="52679"/>
                      </a:lnTo>
                      <a:cubicBezTo>
                        <a:pt x="163768" y="52034"/>
                        <a:pt x="162155" y="50423"/>
                        <a:pt x="160864" y="50423"/>
                      </a:cubicBezTo>
                      <a:lnTo>
                        <a:pt x="160541" y="50423"/>
                      </a:lnTo>
                      <a:cubicBezTo>
                        <a:pt x="147796" y="50423"/>
                        <a:pt x="110689" y="50262"/>
                        <a:pt x="110689" y="50262"/>
                      </a:cubicBezTo>
                      <a:cubicBezTo>
                        <a:pt x="107462" y="50262"/>
                        <a:pt x="104719" y="48812"/>
                        <a:pt x="103267" y="46235"/>
                      </a:cubicBezTo>
                      <a:cubicBezTo>
                        <a:pt x="101815" y="43657"/>
                        <a:pt x="101654" y="40435"/>
                        <a:pt x="103267" y="37858"/>
                      </a:cubicBezTo>
                      <a:cubicBezTo>
                        <a:pt x="116497" y="14499"/>
                        <a:pt x="141665" y="0"/>
                        <a:pt x="168447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C854A924-9BB1-4718-8200-67BA6999696B}"/>
                </a:ext>
              </a:extLst>
            </p:cNvPr>
            <p:cNvGrpSpPr/>
            <p:nvPr/>
          </p:nvGrpSpPr>
          <p:grpSpPr>
            <a:xfrm>
              <a:off x="8068758" y="3111771"/>
              <a:ext cx="2240903" cy="788716"/>
              <a:chOff x="8294591" y="1935010"/>
              <a:chExt cx="2240903" cy="788716"/>
            </a:xfrm>
          </p:grpSpPr>
          <p:grpSp>
            <p:nvGrpSpPr>
              <p:cNvPr id="19" name="组合 18">
                <a:extLst>
                  <a:ext uri="{FF2B5EF4-FFF2-40B4-BE49-F238E27FC236}">
                    <a16:creationId xmlns:a16="http://schemas.microsoft.com/office/drawing/2014/main" id="{6ED4A93D-0BDA-4420-85D6-9F9D9416AA53}"/>
                  </a:ext>
                </a:extLst>
              </p:cNvPr>
              <p:cNvGrpSpPr/>
              <p:nvPr/>
            </p:nvGrpSpPr>
            <p:grpSpPr>
              <a:xfrm>
                <a:off x="9016221" y="1935010"/>
                <a:ext cx="1519273" cy="788716"/>
                <a:chOff x="4200208" y="2958531"/>
                <a:chExt cx="1519273" cy="788716"/>
              </a:xfrm>
            </p:grpSpPr>
            <p:sp>
              <p:nvSpPr>
                <p:cNvPr id="23" name="矩形 22">
                  <a:extLst>
                    <a:ext uri="{FF2B5EF4-FFF2-40B4-BE49-F238E27FC236}">
                      <a16:creationId xmlns:a16="http://schemas.microsoft.com/office/drawing/2014/main" id="{73DA5CA1-A22D-45FF-B355-18D3880E7B99}"/>
                    </a:ext>
                  </a:extLst>
                </p:cNvPr>
                <p:cNvSpPr/>
                <p:nvPr/>
              </p:nvSpPr>
              <p:spPr>
                <a:xfrm>
                  <a:off x="4200208" y="2958531"/>
                  <a:ext cx="1475627" cy="410188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 fontScale="77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>
                    <a:lnSpc>
                      <a:spcPct val="120000"/>
                    </a:lnSpc>
                  </a:pPr>
                  <a:r>
                    <a:rPr lang="zh-CN" altLang="en-US" sz="14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多了解新的技术框架</a:t>
                  </a:r>
                </a:p>
              </p:txBody>
            </p:sp>
            <p:sp>
              <p:nvSpPr>
                <p:cNvPr id="24" name="文本框 23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4243853" y="3151522"/>
                  <a:ext cx="1475628" cy="595725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  <a:spcBef>
                      <a:spcPct val="0"/>
                    </a:spcBef>
                  </a:pPr>
                  <a:endParaRPr lang="en-US" altLang="zh-CN" sz="1000" dirty="0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20" name="组合 19">
                <a:extLst>
                  <a:ext uri="{FF2B5EF4-FFF2-40B4-BE49-F238E27FC236}">
                    <a16:creationId xmlns:a16="http://schemas.microsoft.com/office/drawing/2014/main" id="{BF50E579-C030-4964-BB63-9F7633824DEE}"/>
                  </a:ext>
                </a:extLst>
              </p:cNvPr>
              <p:cNvGrpSpPr/>
              <p:nvPr/>
            </p:nvGrpSpPr>
            <p:grpSpPr>
              <a:xfrm>
                <a:off x="8294591" y="1935010"/>
                <a:ext cx="571511" cy="571511"/>
                <a:chOff x="4123761" y="2164045"/>
                <a:chExt cx="457199" cy="457200"/>
              </a:xfrm>
            </p:grpSpPr>
            <p:sp>
              <p:nvSpPr>
                <p:cNvPr id="21" name="椭圆 20">
                  <a:extLst>
                    <a:ext uri="{FF2B5EF4-FFF2-40B4-BE49-F238E27FC236}">
                      <a16:creationId xmlns:a16="http://schemas.microsoft.com/office/drawing/2014/main" id="{8C24ACAD-2141-4263-BC29-4D68D8CA277E}"/>
                    </a:ext>
                  </a:extLst>
                </p:cNvPr>
                <p:cNvSpPr/>
                <p:nvPr/>
              </p:nvSpPr>
              <p:spPr>
                <a:xfrm>
                  <a:off x="4123761" y="2164045"/>
                  <a:ext cx="457199" cy="457200"/>
                </a:xfrm>
                <a:prstGeom prst="ellipse">
                  <a:avLst/>
                </a:prstGeom>
                <a:solidFill>
                  <a:schemeClr val="accent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22" name="任意多边形: 形状 21">
                  <a:extLst>
                    <a:ext uri="{FF2B5EF4-FFF2-40B4-BE49-F238E27FC236}">
                      <a16:creationId xmlns:a16="http://schemas.microsoft.com/office/drawing/2014/main" id="{65D53B73-C802-4798-BF6C-B623813A03D9}"/>
                    </a:ext>
                  </a:extLst>
                </p:cNvPr>
                <p:cNvSpPr/>
                <p:nvPr/>
              </p:nvSpPr>
              <p:spPr>
                <a:xfrm>
                  <a:off x="4243854" y="2308048"/>
                  <a:ext cx="217020" cy="169187"/>
                </a:xfrm>
                <a:custGeom>
                  <a:avLst/>
                  <a:gdLst>
                    <a:gd name="connsiteX0" fmla="*/ 427673 w 608989"/>
                    <a:gd name="connsiteY0" fmla="*/ 372781 h 474764"/>
                    <a:gd name="connsiteX1" fmla="*/ 393797 w 608989"/>
                    <a:gd name="connsiteY1" fmla="*/ 406614 h 474764"/>
                    <a:gd name="connsiteX2" fmla="*/ 427673 w 608989"/>
                    <a:gd name="connsiteY2" fmla="*/ 440448 h 474764"/>
                    <a:gd name="connsiteX3" fmla="*/ 461549 w 608989"/>
                    <a:gd name="connsiteY3" fmla="*/ 406614 h 474764"/>
                    <a:gd name="connsiteX4" fmla="*/ 427673 w 608989"/>
                    <a:gd name="connsiteY4" fmla="*/ 372781 h 474764"/>
                    <a:gd name="connsiteX5" fmla="*/ 149568 w 608989"/>
                    <a:gd name="connsiteY5" fmla="*/ 372781 h 474764"/>
                    <a:gd name="connsiteX6" fmla="*/ 115692 w 608989"/>
                    <a:gd name="connsiteY6" fmla="*/ 406614 h 474764"/>
                    <a:gd name="connsiteX7" fmla="*/ 149568 w 608989"/>
                    <a:gd name="connsiteY7" fmla="*/ 440448 h 474764"/>
                    <a:gd name="connsiteX8" fmla="*/ 183444 w 608989"/>
                    <a:gd name="connsiteY8" fmla="*/ 406614 h 474764"/>
                    <a:gd name="connsiteX9" fmla="*/ 149568 w 608989"/>
                    <a:gd name="connsiteY9" fmla="*/ 372781 h 474764"/>
                    <a:gd name="connsiteX10" fmla="*/ 413316 w 608989"/>
                    <a:gd name="connsiteY10" fmla="*/ 194754 h 474764"/>
                    <a:gd name="connsiteX11" fmla="*/ 413316 w 608989"/>
                    <a:gd name="connsiteY11" fmla="*/ 269348 h 474764"/>
                    <a:gd name="connsiteX12" fmla="*/ 477196 w 608989"/>
                    <a:gd name="connsiteY12" fmla="*/ 269348 h 474764"/>
                    <a:gd name="connsiteX13" fmla="*/ 483971 w 608989"/>
                    <a:gd name="connsiteY13" fmla="*/ 256137 h 474764"/>
                    <a:gd name="connsiteX14" fmla="*/ 449611 w 608989"/>
                    <a:gd name="connsiteY14" fmla="*/ 207965 h 474764"/>
                    <a:gd name="connsiteX15" fmla="*/ 424124 w 608989"/>
                    <a:gd name="connsiteY15" fmla="*/ 194754 h 474764"/>
                    <a:gd name="connsiteX16" fmla="*/ 231999 w 608989"/>
                    <a:gd name="connsiteY16" fmla="*/ 194754 h 474764"/>
                    <a:gd name="connsiteX17" fmla="*/ 205705 w 608989"/>
                    <a:gd name="connsiteY17" fmla="*/ 207321 h 474764"/>
                    <a:gd name="connsiteX18" fmla="*/ 165860 w 608989"/>
                    <a:gd name="connsiteY18" fmla="*/ 256782 h 474764"/>
                    <a:gd name="connsiteX19" fmla="*/ 171990 w 608989"/>
                    <a:gd name="connsiteY19" fmla="*/ 269348 h 474764"/>
                    <a:gd name="connsiteX20" fmla="*/ 374439 w 608989"/>
                    <a:gd name="connsiteY20" fmla="*/ 269348 h 474764"/>
                    <a:gd name="connsiteX21" fmla="*/ 374439 w 608989"/>
                    <a:gd name="connsiteY21" fmla="*/ 194754 h 474764"/>
                    <a:gd name="connsiteX22" fmla="*/ 217965 w 608989"/>
                    <a:gd name="connsiteY22" fmla="*/ 162371 h 474764"/>
                    <a:gd name="connsiteX23" fmla="*/ 442030 w 608989"/>
                    <a:gd name="connsiteY23" fmla="*/ 162371 h 474764"/>
                    <a:gd name="connsiteX24" fmla="*/ 477196 w 608989"/>
                    <a:gd name="connsiteY24" fmla="*/ 180577 h 474764"/>
                    <a:gd name="connsiteX25" fmla="*/ 524783 w 608989"/>
                    <a:gd name="connsiteY25" fmla="*/ 248243 h 474764"/>
                    <a:gd name="connsiteX26" fmla="*/ 544625 w 608989"/>
                    <a:gd name="connsiteY26" fmla="*/ 257910 h 474764"/>
                    <a:gd name="connsiteX27" fmla="*/ 550594 w 608989"/>
                    <a:gd name="connsiteY27" fmla="*/ 257104 h 474764"/>
                    <a:gd name="connsiteX28" fmla="*/ 586728 w 608989"/>
                    <a:gd name="connsiteY28" fmla="*/ 245826 h 474764"/>
                    <a:gd name="connsiteX29" fmla="*/ 605118 w 608989"/>
                    <a:gd name="connsiteY29" fmla="*/ 249693 h 474764"/>
                    <a:gd name="connsiteX30" fmla="*/ 608828 w 608989"/>
                    <a:gd name="connsiteY30" fmla="*/ 264354 h 474764"/>
                    <a:gd name="connsiteX31" fmla="*/ 590277 w 608989"/>
                    <a:gd name="connsiteY31" fmla="*/ 401942 h 474764"/>
                    <a:gd name="connsiteX32" fmla="*/ 563337 w 608989"/>
                    <a:gd name="connsiteY32" fmla="*/ 425625 h 474764"/>
                    <a:gd name="connsiteX33" fmla="*/ 493166 w 608989"/>
                    <a:gd name="connsiteY33" fmla="*/ 425625 h 474764"/>
                    <a:gd name="connsiteX34" fmla="*/ 427673 w 608989"/>
                    <a:gd name="connsiteY34" fmla="*/ 474764 h 474764"/>
                    <a:gd name="connsiteX35" fmla="*/ 362341 w 608989"/>
                    <a:gd name="connsiteY35" fmla="*/ 425625 h 474764"/>
                    <a:gd name="connsiteX36" fmla="*/ 215061 w 608989"/>
                    <a:gd name="connsiteY36" fmla="*/ 425625 h 474764"/>
                    <a:gd name="connsiteX37" fmla="*/ 149568 w 608989"/>
                    <a:gd name="connsiteY37" fmla="*/ 474764 h 474764"/>
                    <a:gd name="connsiteX38" fmla="*/ 84074 w 608989"/>
                    <a:gd name="connsiteY38" fmla="*/ 425625 h 474764"/>
                    <a:gd name="connsiteX39" fmla="*/ 21485 w 608989"/>
                    <a:gd name="connsiteY39" fmla="*/ 425625 h 474764"/>
                    <a:gd name="connsiteX40" fmla="*/ 4869 w 608989"/>
                    <a:gd name="connsiteY40" fmla="*/ 418214 h 474764"/>
                    <a:gd name="connsiteX41" fmla="*/ 352 w 608989"/>
                    <a:gd name="connsiteY41" fmla="*/ 400814 h 474764"/>
                    <a:gd name="connsiteX42" fmla="*/ 15516 w 608989"/>
                    <a:gd name="connsiteY42" fmla="*/ 309304 h 474764"/>
                    <a:gd name="connsiteX43" fmla="*/ 41649 w 608989"/>
                    <a:gd name="connsiteY43" fmla="*/ 281593 h 474764"/>
                    <a:gd name="connsiteX44" fmla="*/ 95850 w 608989"/>
                    <a:gd name="connsiteY44" fmla="*/ 269348 h 474764"/>
                    <a:gd name="connsiteX45" fmla="*/ 125532 w 608989"/>
                    <a:gd name="connsiteY45" fmla="*/ 250660 h 474764"/>
                    <a:gd name="connsiteX46" fmla="*/ 181992 w 608989"/>
                    <a:gd name="connsiteY46" fmla="*/ 179771 h 474764"/>
                    <a:gd name="connsiteX47" fmla="*/ 217965 w 608989"/>
                    <a:gd name="connsiteY47" fmla="*/ 162371 h 474764"/>
                    <a:gd name="connsiteX48" fmla="*/ 168447 w 608989"/>
                    <a:gd name="connsiteY48" fmla="*/ 0 h 474764"/>
                    <a:gd name="connsiteX49" fmla="*/ 238143 w 608989"/>
                    <a:gd name="connsiteY49" fmla="*/ 47040 h 474764"/>
                    <a:gd name="connsiteX50" fmla="*/ 416257 w 608989"/>
                    <a:gd name="connsiteY50" fmla="*/ 47040 h 474764"/>
                    <a:gd name="connsiteX51" fmla="*/ 421743 w 608989"/>
                    <a:gd name="connsiteY51" fmla="*/ 47524 h 474764"/>
                    <a:gd name="connsiteX52" fmla="*/ 491762 w 608989"/>
                    <a:gd name="connsiteY52" fmla="*/ 0 h 474764"/>
                    <a:gd name="connsiteX53" fmla="*/ 556941 w 608989"/>
                    <a:gd name="connsiteY53" fmla="*/ 37858 h 474764"/>
                    <a:gd name="connsiteX54" fmla="*/ 557103 w 608989"/>
                    <a:gd name="connsiteY54" fmla="*/ 46396 h 474764"/>
                    <a:gd name="connsiteX55" fmla="*/ 549520 w 608989"/>
                    <a:gd name="connsiteY55" fmla="*/ 50262 h 474764"/>
                    <a:gd name="connsiteX56" fmla="*/ 500635 w 608989"/>
                    <a:gd name="connsiteY56" fmla="*/ 50423 h 474764"/>
                    <a:gd name="connsiteX57" fmla="*/ 496279 w 608989"/>
                    <a:gd name="connsiteY57" fmla="*/ 52357 h 474764"/>
                    <a:gd name="connsiteX58" fmla="*/ 495957 w 608989"/>
                    <a:gd name="connsiteY58" fmla="*/ 52840 h 474764"/>
                    <a:gd name="connsiteX59" fmla="*/ 479823 w 608989"/>
                    <a:gd name="connsiteY59" fmla="*/ 75071 h 474764"/>
                    <a:gd name="connsiteX60" fmla="*/ 495634 w 608989"/>
                    <a:gd name="connsiteY60" fmla="*/ 97142 h 474764"/>
                    <a:gd name="connsiteX61" fmla="*/ 495957 w 608989"/>
                    <a:gd name="connsiteY61" fmla="*/ 97625 h 474764"/>
                    <a:gd name="connsiteX62" fmla="*/ 499345 w 608989"/>
                    <a:gd name="connsiteY62" fmla="*/ 99719 h 474764"/>
                    <a:gd name="connsiteX63" fmla="*/ 549520 w 608989"/>
                    <a:gd name="connsiteY63" fmla="*/ 99880 h 474764"/>
                    <a:gd name="connsiteX64" fmla="*/ 556941 w 608989"/>
                    <a:gd name="connsiteY64" fmla="*/ 104069 h 474764"/>
                    <a:gd name="connsiteX65" fmla="*/ 556941 w 608989"/>
                    <a:gd name="connsiteY65" fmla="*/ 112285 h 474764"/>
                    <a:gd name="connsiteX66" fmla="*/ 491762 w 608989"/>
                    <a:gd name="connsiteY66" fmla="*/ 150304 h 474764"/>
                    <a:gd name="connsiteX67" fmla="*/ 421743 w 608989"/>
                    <a:gd name="connsiteY67" fmla="*/ 102780 h 474764"/>
                    <a:gd name="connsiteX68" fmla="*/ 416257 w 608989"/>
                    <a:gd name="connsiteY68" fmla="*/ 103263 h 474764"/>
                    <a:gd name="connsiteX69" fmla="*/ 238143 w 608989"/>
                    <a:gd name="connsiteY69" fmla="*/ 103263 h 474764"/>
                    <a:gd name="connsiteX70" fmla="*/ 168447 w 608989"/>
                    <a:gd name="connsiteY70" fmla="*/ 150304 h 474764"/>
                    <a:gd name="connsiteX71" fmla="*/ 103267 w 608989"/>
                    <a:gd name="connsiteY71" fmla="*/ 112446 h 474764"/>
                    <a:gd name="connsiteX72" fmla="*/ 103106 w 608989"/>
                    <a:gd name="connsiteY72" fmla="*/ 103908 h 474764"/>
                    <a:gd name="connsiteX73" fmla="*/ 110689 w 608989"/>
                    <a:gd name="connsiteY73" fmla="*/ 99880 h 474764"/>
                    <a:gd name="connsiteX74" fmla="*/ 159573 w 608989"/>
                    <a:gd name="connsiteY74" fmla="*/ 99880 h 474764"/>
                    <a:gd name="connsiteX75" fmla="*/ 164091 w 608989"/>
                    <a:gd name="connsiteY75" fmla="*/ 97786 h 474764"/>
                    <a:gd name="connsiteX76" fmla="*/ 164252 w 608989"/>
                    <a:gd name="connsiteY76" fmla="*/ 97464 h 474764"/>
                    <a:gd name="connsiteX77" fmla="*/ 180385 w 608989"/>
                    <a:gd name="connsiteY77" fmla="*/ 75232 h 474764"/>
                    <a:gd name="connsiteX78" fmla="*/ 164575 w 608989"/>
                    <a:gd name="connsiteY78" fmla="*/ 53162 h 474764"/>
                    <a:gd name="connsiteX79" fmla="*/ 164252 w 608989"/>
                    <a:gd name="connsiteY79" fmla="*/ 52679 h 474764"/>
                    <a:gd name="connsiteX80" fmla="*/ 160864 w 608989"/>
                    <a:gd name="connsiteY80" fmla="*/ 50423 h 474764"/>
                    <a:gd name="connsiteX81" fmla="*/ 160541 w 608989"/>
                    <a:gd name="connsiteY81" fmla="*/ 50423 h 474764"/>
                    <a:gd name="connsiteX82" fmla="*/ 110689 w 608989"/>
                    <a:gd name="connsiteY82" fmla="*/ 50262 h 474764"/>
                    <a:gd name="connsiteX83" fmla="*/ 103267 w 608989"/>
                    <a:gd name="connsiteY83" fmla="*/ 46235 h 474764"/>
                    <a:gd name="connsiteX84" fmla="*/ 103267 w 608989"/>
                    <a:gd name="connsiteY84" fmla="*/ 37858 h 474764"/>
                    <a:gd name="connsiteX85" fmla="*/ 168447 w 608989"/>
                    <a:gd name="connsiteY85" fmla="*/ 0 h 474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</a:cxnLst>
                  <a:rect l="l" t="t" r="r" b="b"/>
                  <a:pathLst>
                    <a:path w="608989" h="474764">
                      <a:moveTo>
                        <a:pt x="427673" y="372781"/>
                      </a:moveTo>
                      <a:cubicBezTo>
                        <a:pt x="408960" y="372781"/>
                        <a:pt x="393797" y="387926"/>
                        <a:pt x="393797" y="406614"/>
                      </a:cubicBezTo>
                      <a:cubicBezTo>
                        <a:pt x="393797" y="425303"/>
                        <a:pt x="408960" y="440448"/>
                        <a:pt x="427673" y="440448"/>
                      </a:cubicBezTo>
                      <a:cubicBezTo>
                        <a:pt x="446385" y="440448"/>
                        <a:pt x="461549" y="425303"/>
                        <a:pt x="461549" y="406614"/>
                      </a:cubicBezTo>
                      <a:cubicBezTo>
                        <a:pt x="461549" y="387926"/>
                        <a:pt x="446385" y="372781"/>
                        <a:pt x="427673" y="372781"/>
                      </a:cubicBezTo>
                      <a:close/>
                      <a:moveTo>
                        <a:pt x="149568" y="372781"/>
                      </a:moveTo>
                      <a:cubicBezTo>
                        <a:pt x="130855" y="372781"/>
                        <a:pt x="115692" y="387926"/>
                        <a:pt x="115692" y="406614"/>
                      </a:cubicBezTo>
                      <a:cubicBezTo>
                        <a:pt x="115692" y="425303"/>
                        <a:pt x="130855" y="440448"/>
                        <a:pt x="149568" y="440448"/>
                      </a:cubicBezTo>
                      <a:cubicBezTo>
                        <a:pt x="168280" y="440448"/>
                        <a:pt x="183444" y="425303"/>
                        <a:pt x="183444" y="406614"/>
                      </a:cubicBezTo>
                      <a:cubicBezTo>
                        <a:pt x="183444" y="387926"/>
                        <a:pt x="168280" y="372781"/>
                        <a:pt x="149568" y="372781"/>
                      </a:cubicBezTo>
                      <a:close/>
                      <a:moveTo>
                        <a:pt x="413316" y="194754"/>
                      </a:moveTo>
                      <a:lnTo>
                        <a:pt x="413316" y="269348"/>
                      </a:lnTo>
                      <a:lnTo>
                        <a:pt x="477196" y="269348"/>
                      </a:lnTo>
                      <a:cubicBezTo>
                        <a:pt x="486068" y="269348"/>
                        <a:pt x="489133" y="263387"/>
                        <a:pt x="483971" y="256137"/>
                      </a:cubicBezTo>
                      <a:lnTo>
                        <a:pt x="449611" y="207965"/>
                      </a:lnTo>
                      <a:cubicBezTo>
                        <a:pt x="444449" y="200715"/>
                        <a:pt x="432996" y="194754"/>
                        <a:pt x="424124" y="194754"/>
                      </a:cubicBezTo>
                      <a:close/>
                      <a:moveTo>
                        <a:pt x="231999" y="194754"/>
                      </a:moveTo>
                      <a:cubicBezTo>
                        <a:pt x="223127" y="194754"/>
                        <a:pt x="211351" y="200393"/>
                        <a:pt x="205705" y="207321"/>
                      </a:cubicBezTo>
                      <a:lnTo>
                        <a:pt x="165860" y="256782"/>
                      </a:lnTo>
                      <a:cubicBezTo>
                        <a:pt x="160376" y="263709"/>
                        <a:pt x="163118" y="269348"/>
                        <a:pt x="171990" y="269348"/>
                      </a:cubicBezTo>
                      <a:lnTo>
                        <a:pt x="374439" y="269348"/>
                      </a:lnTo>
                      <a:lnTo>
                        <a:pt x="374439" y="194754"/>
                      </a:lnTo>
                      <a:close/>
                      <a:moveTo>
                        <a:pt x="217965" y="162371"/>
                      </a:moveTo>
                      <a:lnTo>
                        <a:pt x="442030" y="162371"/>
                      </a:lnTo>
                      <a:cubicBezTo>
                        <a:pt x="454612" y="162371"/>
                        <a:pt x="470098" y="170427"/>
                        <a:pt x="477196" y="180577"/>
                      </a:cubicBezTo>
                      <a:lnTo>
                        <a:pt x="524783" y="248243"/>
                      </a:lnTo>
                      <a:cubicBezTo>
                        <a:pt x="528816" y="254043"/>
                        <a:pt x="536882" y="257910"/>
                        <a:pt x="544625" y="257910"/>
                      </a:cubicBezTo>
                      <a:cubicBezTo>
                        <a:pt x="546883" y="257910"/>
                        <a:pt x="548819" y="257748"/>
                        <a:pt x="550594" y="257104"/>
                      </a:cubicBezTo>
                      <a:lnTo>
                        <a:pt x="586728" y="245826"/>
                      </a:lnTo>
                      <a:cubicBezTo>
                        <a:pt x="593987" y="243571"/>
                        <a:pt x="600924" y="245021"/>
                        <a:pt x="605118" y="249693"/>
                      </a:cubicBezTo>
                      <a:cubicBezTo>
                        <a:pt x="608183" y="253398"/>
                        <a:pt x="609473" y="258554"/>
                        <a:pt x="608828" y="264354"/>
                      </a:cubicBezTo>
                      <a:lnTo>
                        <a:pt x="590277" y="401942"/>
                      </a:lnTo>
                      <a:cubicBezTo>
                        <a:pt x="588664" y="414992"/>
                        <a:pt x="576565" y="425625"/>
                        <a:pt x="563337" y="425625"/>
                      </a:cubicBezTo>
                      <a:lnTo>
                        <a:pt x="493166" y="425625"/>
                      </a:lnTo>
                      <a:cubicBezTo>
                        <a:pt x="484939" y="453981"/>
                        <a:pt x="458806" y="474764"/>
                        <a:pt x="427673" y="474764"/>
                      </a:cubicBezTo>
                      <a:cubicBezTo>
                        <a:pt x="396700" y="474764"/>
                        <a:pt x="370568" y="453981"/>
                        <a:pt x="362341" y="425625"/>
                      </a:cubicBezTo>
                      <a:lnTo>
                        <a:pt x="215061" y="425625"/>
                      </a:lnTo>
                      <a:cubicBezTo>
                        <a:pt x="206834" y="453981"/>
                        <a:pt x="180540" y="474764"/>
                        <a:pt x="149568" y="474764"/>
                      </a:cubicBezTo>
                      <a:cubicBezTo>
                        <a:pt x="118595" y="474764"/>
                        <a:pt x="92301" y="453981"/>
                        <a:pt x="84074" y="425625"/>
                      </a:cubicBezTo>
                      <a:lnTo>
                        <a:pt x="21485" y="425625"/>
                      </a:lnTo>
                      <a:cubicBezTo>
                        <a:pt x="14871" y="425625"/>
                        <a:pt x="8902" y="423048"/>
                        <a:pt x="4869" y="418214"/>
                      </a:cubicBezTo>
                      <a:cubicBezTo>
                        <a:pt x="836" y="413542"/>
                        <a:pt x="-777" y="407420"/>
                        <a:pt x="352" y="400814"/>
                      </a:cubicBezTo>
                      <a:lnTo>
                        <a:pt x="15516" y="309304"/>
                      </a:lnTo>
                      <a:cubicBezTo>
                        <a:pt x="17613" y="296576"/>
                        <a:pt x="29066" y="284332"/>
                        <a:pt x="41649" y="281593"/>
                      </a:cubicBezTo>
                      <a:lnTo>
                        <a:pt x="95850" y="269348"/>
                      </a:lnTo>
                      <a:cubicBezTo>
                        <a:pt x="105690" y="267093"/>
                        <a:pt x="119241" y="258554"/>
                        <a:pt x="125532" y="250660"/>
                      </a:cubicBezTo>
                      <a:lnTo>
                        <a:pt x="181992" y="179771"/>
                      </a:lnTo>
                      <a:cubicBezTo>
                        <a:pt x="189735" y="169943"/>
                        <a:pt x="205544" y="162371"/>
                        <a:pt x="217965" y="162371"/>
                      </a:cubicBezTo>
                      <a:close/>
                      <a:moveTo>
                        <a:pt x="168447" y="0"/>
                      </a:moveTo>
                      <a:cubicBezTo>
                        <a:pt x="200068" y="0"/>
                        <a:pt x="227011" y="19493"/>
                        <a:pt x="238143" y="47040"/>
                      </a:cubicBezTo>
                      <a:lnTo>
                        <a:pt x="416257" y="47040"/>
                      </a:lnTo>
                      <a:cubicBezTo>
                        <a:pt x="418193" y="47040"/>
                        <a:pt x="419968" y="47202"/>
                        <a:pt x="421743" y="47524"/>
                      </a:cubicBezTo>
                      <a:cubicBezTo>
                        <a:pt x="432875" y="19815"/>
                        <a:pt x="459979" y="0"/>
                        <a:pt x="491762" y="0"/>
                      </a:cubicBezTo>
                      <a:cubicBezTo>
                        <a:pt x="518543" y="0"/>
                        <a:pt x="543550" y="14499"/>
                        <a:pt x="556941" y="37858"/>
                      </a:cubicBezTo>
                      <a:cubicBezTo>
                        <a:pt x="558232" y="39952"/>
                        <a:pt x="558877" y="43335"/>
                        <a:pt x="557103" y="46396"/>
                      </a:cubicBezTo>
                      <a:cubicBezTo>
                        <a:pt x="555651" y="48812"/>
                        <a:pt x="552908" y="50262"/>
                        <a:pt x="549520" y="50262"/>
                      </a:cubicBezTo>
                      <a:cubicBezTo>
                        <a:pt x="549520" y="50262"/>
                        <a:pt x="513703" y="50423"/>
                        <a:pt x="500635" y="50423"/>
                      </a:cubicBezTo>
                      <a:cubicBezTo>
                        <a:pt x="497731" y="50423"/>
                        <a:pt x="496279" y="52357"/>
                        <a:pt x="496279" y="52357"/>
                      </a:cubicBezTo>
                      <a:lnTo>
                        <a:pt x="495957" y="52840"/>
                      </a:lnTo>
                      <a:cubicBezTo>
                        <a:pt x="489019" y="60895"/>
                        <a:pt x="481275" y="71366"/>
                        <a:pt x="479823" y="75071"/>
                      </a:cubicBezTo>
                      <a:cubicBezTo>
                        <a:pt x="481275" y="78777"/>
                        <a:pt x="489019" y="89087"/>
                        <a:pt x="495634" y="97142"/>
                      </a:cubicBezTo>
                      <a:lnTo>
                        <a:pt x="495957" y="97625"/>
                      </a:lnTo>
                      <a:cubicBezTo>
                        <a:pt x="496441" y="98269"/>
                        <a:pt x="498054" y="99719"/>
                        <a:pt x="499345" y="99719"/>
                      </a:cubicBezTo>
                      <a:cubicBezTo>
                        <a:pt x="511929" y="99719"/>
                        <a:pt x="549520" y="99880"/>
                        <a:pt x="549520" y="99880"/>
                      </a:cubicBezTo>
                      <a:cubicBezTo>
                        <a:pt x="552747" y="99880"/>
                        <a:pt x="555489" y="101491"/>
                        <a:pt x="556941" y="104069"/>
                      </a:cubicBezTo>
                      <a:cubicBezTo>
                        <a:pt x="558393" y="106485"/>
                        <a:pt x="558393" y="109868"/>
                        <a:pt x="556941" y="112285"/>
                      </a:cubicBezTo>
                      <a:cubicBezTo>
                        <a:pt x="543550" y="135644"/>
                        <a:pt x="518543" y="150304"/>
                        <a:pt x="491762" y="150304"/>
                      </a:cubicBezTo>
                      <a:cubicBezTo>
                        <a:pt x="459979" y="150304"/>
                        <a:pt x="432875" y="130489"/>
                        <a:pt x="421743" y="102780"/>
                      </a:cubicBezTo>
                      <a:cubicBezTo>
                        <a:pt x="419968" y="103102"/>
                        <a:pt x="418193" y="103263"/>
                        <a:pt x="416257" y="103263"/>
                      </a:cubicBezTo>
                      <a:lnTo>
                        <a:pt x="238143" y="103263"/>
                      </a:lnTo>
                      <a:cubicBezTo>
                        <a:pt x="227011" y="130811"/>
                        <a:pt x="200068" y="150304"/>
                        <a:pt x="168447" y="150304"/>
                      </a:cubicBezTo>
                      <a:cubicBezTo>
                        <a:pt x="141665" y="150304"/>
                        <a:pt x="116658" y="135805"/>
                        <a:pt x="103267" y="112446"/>
                      </a:cubicBezTo>
                      <a:cubicBezTo>
                        <a:pt x="101977" y="110352"/>
                        <a:pt x="101331" y="106969"/>
                        <a:pt x="103106" y="103908"/>
                      </a:cubicBezTo>
                      <a:cubicBezTo>
                        <a:pt x="104558" y="101330"/>
                        <a:pt x="107301" y="99880"/>
                        <a:pt x="110689" y="99880"/>
                      </a:cubicBezTo>
                      <a:cubicBezTo>
                        <a:pt x="110689" y="99880"/>
                        <a:pt x="146505" y="99880"/>
                        <a:pt x="159573" y="99880"/>
                      </a:cubicBezTo>
                      <a:cubicBezTo>
                        <a:pt x="162477" y="99880"/>
                        <a:pt x="163929" y="98108"/>
                        <a:pt x="164091" y="97786"/>
                      </a:cubicBezTo>
                      <a:lnTo>
                        <a:pt x="164252" y="97464"/>
                      </a:lnTo>
                      <a:cubicBezTo>
                        <a:pt x="171189" y="89248"/>
                        <a:pt x="178933" y="78777"/>
                        <a:pt x="180385" y="75232"/>
                      </a:cubicBezTo>
                      <a:cubicBezTo>
                        <a:pt x="178933" y="71527"/>
                        <a:pt x="171189" y="61217"/>
                        <a:pt x="164575" y="53162"/>
                      </a:cubicBezTo>
                      <a:lnTo>
                        <a:pt x="164252" y="52679"/>
                      </a:lnTo>
                      <a:cubicBezTo>
                        <a:pt x="163768" y="52034"/>
                        <a:pt x="162155" y="50423"/>
                        <a:pt x="160864" y="50423"/>
                      </a:cubicBezTo>
                      <a:lnTo>
                        <a:pt x="160541" y="50423"/>
                      </a:lnTo>
                      <a:cubicBezTo>
                        <a:pt x="147796" y="50423"/>
                        <a:pt x="110689" y="50262"/>
                        <a:pt x="110689" y="50262"/>
                      </a:cubicBezTo>
                      <a:cubicBezTo>
                        <a:pt x="107462" y="50262"/>
                        <a:pt x="104719" y="48812"/>
                        <a:pt x="103267" y="46235"/>
                      </a:cubicBezTo>
                      <a:cubicBezTo>
                        <a:pt x="101815" y="43657"/>
                        <a:pt x="101654" y="40435"/>
                        <a:pt x="103267" y="37858"/>
                      </a:cubicBezTo>
                      <a:cubicBezTo>
                        <a:pt x="116497" y="14499"/>
                        <a:pt x="141665" y="0"/>
                        <a:pt x="168447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96D15A04-39EF-4AEB-A33F-4E51C4BDF6FD}"/>
                </a:ext>
              </a:extLst>
            </p:cNvPr>
            <p:cNvGrpSpPr/>
            <p:nvPr/>
          </p:nvGrpSpPr>
          <p:grpSpPr>
            <a:xfrm>
              <a:off x="5744661" y="1254441"/>
              <a:ext cx="2240904" cy="788709"/>
              <a:chOff x="8294591" y="1717812"/>
              <a:chExt cx="2240904" cy="788709"/>
            </a:xfrm>
          </p:grpSpPr>
          <p:sp>
            <p:nvSpPr>
              <p:cNvPr id="17" name="矩形 16">
                <a:extLst>
                  <a:ext uri="{FF2B5EF4-FFF2-40B4-BE49-F238E27FC236}">
                    <a16:creationId xmlns:a16="http://schemas.microsoft.com/office/drawing/2014/main" id="{73DA5CA1-A22D-45FF-B355-18D3880E7B99}"/>
                  </a:ext>
                </a:extLst>
              </p:cNvPr>
              <p:cNvSpPr/>
              <p:nvPr/>
            </p:nvSpPr>
            <p:spPr>
              <a:xfrm>
                <a:off x="9059868" y="1717812"/>
                <a:ext cx="1475627" cy="410188"/>
              </a:xfrm>
              <a:prstGeom prst="rect">
                <a:avLst/>
              </a:prstGeom>
              <a:noFill/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 fontScale="850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>
                  <a:lnSpc>
                    <a:spcPct val="120000"/>
                  </a:lnSpc>
                </a:pPr>
                <a:r>
                  <a:rPr lang="zh-CN" altLang="en-US" sz="1400" b="1" dirty="0">
                    <a:solidFill>
                      <a:schemeClr val="tx1"/>
                    </a:solidFill>
                    <a:cs typeface="+mn-ea"/>
                    <a:sym typeface="+mn-lt"/>
                  </a:rPr>
                  <a:t>提升代码的可读性</a:t>
                </a:r>
              </a:p>
            </p:txBody>
          </p:sp>
          <p:grpSp>
            <p:nvGrpSpPr>
              <p:cNvPr id="14" name="组合 13">
                <a:extLst>
                  <a:ext uri="{FF2B5EF4-FFF2-40B4-BE49-F238E27FC236}">
                    <a16:creationId xmlns:a16="http://schemas.microsoft.com/office/drawing/2014/main" id="{03F430DE-A734-4DE7-9193-E7118B9F148A}"/>
                  </a:ext>
                </a:extLst>
              </p:cNvPr>
              <p:cNvGrpSpPr/>
              <p:nvPr/>
            </p:nvGrpSpPr>
            <p:grpSpPr>
              <a:xfrm>
                <a:off x="8294591" y="1935010"/>
                <a:ext cx="571511" cy="571511"/>
                <a:chOff x="4123761" y="2164045"/>
                <a:chExt cx="457199" cy="457200"/>
              </a:xfrm>
            </p:grpSpPr>
            <p:sp>
              <p:nvSpPr>
                <p:cNvPr id="15" name="椭圆 14">
                  <a:extLst>
                    <a:ext uri="{FF2B5EF4-FFF2-40B4-BE49-F238E27FC236}">
                      <a16:creationId xmlns:a16="http://schemas.microsoft.com/office/drawing/2014/main" id="{3A3B029C-78A9-4823-89F1-DA1F35D407EC}"/>
                    </a:ext>
                  </a:extLst>
                </p:cNvPr>
                <p:cNvSpPr/>
                <p:nvPr/>
              </p:nvSpPr>
              <p:spPr>
                <a:xfrm>
                  <a:off x="4123761" y="2164045"/>
                  <a:ext cx="457199" cy="457200"/>
                </a:xfrm>
                <a:prstGeom prst="ellipse">
                  <a:avLst/>
                </a:prstGeom>
                <a:solidFill>
                  <a:schemeClr val="accent2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6" name="任意多边形: 形状 15">
                  <a:extLst>
                    <a:ext uri="{FF2B5EF4-FFF2-40B4-BE49-F238E27FC236}">
                      <a16:creationId xmlns:a16="http://schemas.microsoft.com/office/drawing/2014/main" id="{78F32AAE-720C-4587-A6A7-10EB10E85D73}"/>
                    </a:ext>
                  </a:extLst>
                </p:cNvPr>
                <p:cNvSpPr/>
                <p:nvPr/>
              </p:nvSpPr>
              <p:spPr>
                <a:xfrm>
                  <a:off x="4243854" y="2308048"/>
                  <a:ext cx="217020" cy="169187"/>
                </a:xfrm>
                <a:custGeom>
                  <a:avLst/>
                  <a:gdLst>
                    <a:gd name="connsiteX0" fmla="*/ 427673 w 608989"/>
                    <a:gd name="connsiteY0" fmla="*/ 372781 h 474764"/>
                    <a:gd name="connsiteX1" fmla="*/ 393797 w 608989"/>
                    <a:gd name="connsiteY1" fmla="*/ 406614 h 474764"/>
                    <a:gd name="connsiteX2" fmla="*/ 427673 w 608989"/>
                    <a:gd name="connsiteY2" fmla="*/ 440448 h 474764"/>
                    <a:gd name="connsiteX3" fmla="*/ 461549 w 608989"/>
                    <a:gd name="connsiteY3" fmla="*/ 406614 h 474764"/>
                    <a:gd name="connsiteX4" fmla="*/ 427673 w 608989"/>
                    <a:gd name="connsiteY4" fmla="*/ 372781 h 474764"/>
                    <a:gd name="connsiteX5" fmla="*/ 149568 w 608989"/>
                    <a:gd name="connsiteY5" fmla="*/ 372781 h 474764"/>
                    <a:gd name="connsiteX6" fmla="*/ 115692 w 608989"/>
                    <a:gd name="connsiteY6" fmla="*/ 406614 h 474764"/>
                    <a:gd name="connsiteX7" fmla="*/ 149568 w 608989"/>
                    <a:gd name="connsiteY7" fmla="*/ 440448 h 474764"/>
                    <a:gd name="connsiteX8" fmla="*/ 183444 w 608989"/>
                    <a:gd name="connsiteY8" fmla="*/ 406614 h 474764"/>
                    <a:gd name="connsiteX9" fmla="*/ 149568 w 608989"/>
                    <a:gd name="connsiteY9" fmla="*/ 372781 h 474764"/>
                    <a:gd name="connsiteX10" fmla="*/ 413316 w 608989"/>
                    <a:gd name="connsiteY10" fmla="*/ 194754 h 474764"/>
                    <a:gd name="connsiteX11" fmla="*/ 413316 w 608989"/>
                    <a:gd name="connsiteY11" fmla="*/ 269348 h 474764"/>
                    <a:gd name="connsiteX12" fmla="*/ 477196 w 608989"/>
                    <a:gd name="connsiteY12" fmla="*/ 269348 h 474764"/>
                    <a:gd name="connsiteX13" fmla="*/ 483971 w 608989"/>
                    <a:gd name="connsiteY13" fmla="*/ 256137 h 474764"/>
                    <a:gd name="connsiteX14" fmla="*/ 449611 w 608989"/>
                    <a:gd name="connsiteY14" fmla="*/ 207965 h 474764"/>
                    <a:gd name="connsiteX15" fmla="*/ 424124 w 608989"/>
                    <a:gd name="connsiteY15" fmla="*/ 194754 h 474764"/>
                    <a:gd name="connsiteX16" fmla="*/ 231999 w 608989"/>
                    <a:gd name="connsiteY16" fmla="*/ 194754 h 474764"/>
                    <a:gd name="connsiteX17" fmla="*/ 205705 w 608989"/>
                    <a:gd name="connsiteY17" fmla="*/ 207321 h 474764"/>
                    <a:gd name="connsiteX18" fmla="*/ 165860 w 608989"/>
                    <a:gd name="connsiteY18" fmla="*/ 256782 h 474764"/>
                    <a:gd name="connsiteX19" fmla="*/ 171990 w 608989"/>
                    <a:gd name="connsiteY19" fmla="*/ 269348 h 474764"/>
                    <a:gd name="connsiteX20" fmla="*/ 374439 w 608989"/>
                    <a:gd name="connsiteY20" fmla="*/ 269348 h 474764"/>
                    <a:gd name="connsiteX21" fmla="*/ 374439 w 608989"/>
                    <a:gd name="connsiteY21" fmla="*/ 194754 h 474764"/>
                    <a:gd name="connsiteX22" fmla="*/ 217965 w 608989"/>
                    <a:gd name="connsiteY22" fmla="*/ 162371 h 474764"/>
                    <a:gd name="connsiteX23" fmla="*/ 442030 w 608989"/>
                    <a:gd name="connsiteY23" fmla="*/ 162371 h 474764"/>
                    <a:gd name="connsiteX24" fmla="*/ 477196 w 608989"/>
                    <a:gd name="connsiteY24" fmla="*/ 180577 h 474764"/>
                    <a:gd name="connsiteX25" fmla="*/ 524783 w 608989"/>
                    <a:gd name="connsiteY25" fmla="*/ 248243 h 474764"/>
                    <a:gd name="connsiteX26" fmla="*/ 544625 w 608989"/>
                    <a:gd name="connsiteY26" fmla="*/ 257910 h 474764"/>
                    <a:gd name="connsiteX27" fmla="*/ 550594 w 608989"/>
                    <a:gd name="connsiteY27" fmla="*/ 257104 h 474764"/>
                    <a:gd name="connsiteX28" fmla="*/ 586728 w 608989"/>
                    <a:gd name="connsiteY28" fmla="*/ 245826 h 474764"/>
                    <a:gd name="connsiteX29" fmla="*/ 605118 w 608989"/>
                    <a:gd name="connsiteY29" fmla="*/ 249693 h 474764"/>
                    <a:gd name="connsiteX30" fmla="*/ 608828 w 608989"/>
                    <a:gd name="connsiteY30" fmla="*/ 264354 h 474764"/>
                    <a:gd name="connsiteX31" fmla="*/ 590277 w 608989"/>
                    <a:gd name="connsiteY31" fmla="*/ 401942 h 474764"/>
                    <a:gd name="connsiteX32" fmla="*/ 563337 w 608989"/>
                    <a:gd name="connsiteY32" fmla="*/ 425625 h 474764"/>
                    <a:gd name="connsiteX33" fmla="*/ 493166 w 608989"/>
                    <a:gd name="connsiteY33" fmla="*/ 425625 h 474764"/>
                    <a:gd name="connsiteX34" fmla="*/ 427673 w 608989"/>
                    <a:gd name="connsiteY34" fmla="*/ 474764 h 474764"/>
                    <a:gd name="connsiteX35" fmla="*/ 362341 w 608989"/>
                    <a:gd name="connsiteY35" fmla="*/ 425625 h 474764"/>
                    <a:gd name="connsiteX36" fmla="*/ 215061 w 608989"/>
                    <a:gd name="connsiteY36" fmla="*/ 425625 h 474764"/>
                    <a:gd name="connsiteX37" fmla="*/ 149568 w 608989"/>
                    <a:gd name="connsiteY37" fmla="*/ 474764 h 474764"/>
                    <a:gd name="connsiteX38" fmla="*/ 84074 w 608989"/>
                    <a:gd name="connsiteY38" fmla="*/ 425625 h 474764"/>
                    <a:gd name="connsiteX39" fmla="*/ 21485 w 608989"/>
                    <a:gd name="connsiteY39" fmla="*/ 425625 h 474764"/>
                    <a:gd name="connsiteX40" fmla="*/ 4869 w 608989"/>
                    <a:gd name="connsiteY40" fmla="*/ 418214 h 474764"/>
                    <a:gd name="connsiteX41" fmla="*/ 352 w 608989"/>
                    <a:gd name="connsiteY41" fmla="*/ 400814 h 474764"/>
                    <a:gd name="connsiteX42" fmla="*/ 15516 w 608989"/>
                    <a:gd name="connsiteY42" fmla="*/ 309304 h 474764"/>
                    <a:gd name="connsiteX43" fmla="*/ 41649 w 608989"/>
                    <a:gd name="connsiteY43" fmla="*/ 281593 h 474764"/>
                    <a:gd name="connsiteX44" fmla="*/ 95850 w 608989"/>
                    <a:gd name="connsiteY44" fmla="*/ 269348 h 474764"/>
                    <a:gd name="connsiteX45" fmla="*/ 125532 w 608989"/>
                    <a:gd name="connsiteY45" fmla="*/ 250660 h 474764"/>
                    <a:gd name="connsiteX46" fmla="*/ 181992 w 608989"/>
                    <a:gd name="connsiteY46" fmla="*/ 179771 h 474764"/>
                    <a:gd name="connsiteX47" fmla="*/ 217965 w 608989"/>
                    <a:gd name="connsiteY47" fmla="*/ 162371 h 474764"/>
                    <a:gd name="connsiteX48" fmla="*/ 168447 w 608989"/>
                    <a:gd name="connsiteY48" fmla="*/ 0 h 474764"/>
                    <a:gd name="connsiteX49" fmla="*/ 238143 w 608989"/>
                    <a:gd name="connsiteY49" fmla="*/ 47040 h 474764"/>
                    <a:gd name="connsiteX50" fmla="*/ 416257 w 608989"/>
                    <a:gd name="connsiteY50" fmla="*/ 47040 h 474764"/>
                    <a:gd name="connsiteX51" fmla="*/ 421743 w 608989"/>
                    <a:gd name="connsiteY51" fmla="*/ 47524 h 474764"/>
                    <a:gd name="connsiteX52" fmla="*/ 491762 w 608989"/>
                    <a:gd name="connsiteY52" fmla="*/ 0 h 474764"/>
                    <a:gd name="connsiteX53" fmla="*/ 556941 w 608989"/>
                    <a:gd name="connsiteY53" fmla="*/ 37858 h 474764"/>
                    <a:gd name="connsiteX54" fmla="*/ 557103 w 608989"/>
                    <a:gd name="connsiteY54" fmla="*/ 46396 h 474764"/>
                    <a:gd name="connsiteX55" fmla="*/ 549520 w 608989"/>
                    <a:gd name="connsiteY55" fmla="*/ 50262 h 474764"/>
                    <a:gd name="connsiteX56" fmla="*/ 500635 w 608989"/>
                    <a:gd name="connsiteY56" fmla="*/ 50423 h 474764"/>
                    <a:gd name="connsiteX57" fmla="*/ 496279 w 608989"/>
                    <a:gd name="connsiteY57" fmla="*/ 52357 h 474764"/>
                    <a:gd name="connsiteX58" fmla="*/ 495957 w 608989"/>
                    <a:gd name="connsiteY58" fmla="*/ 52840 h 474764"/>
                    <a:gd name="connsiteX59" fmla="*/ 479823 w 608989"/>
                    <a:gd name="connsiteY59" fmla="*/ 75071 h 474764"/>
                    <a:gd name="connsiteX60" fmla="*/ 495634 w 608989"/>
                    <a:gd name="connsiteY60" fmla="*/ 97142 h 474764"/>
                    <a:gd name="connsiteX61" fmla="*/ 495957 w 608989"/>
                    <a:gd name="connsiteY61" fmla="*/ 97625 h 474764"/>
                    <a:gd name="connsiteX62" fmla="*/ 499345 w 608989"/>
                    <a:gd name="connsiteY62" fmla="*/ 99719 h 474764"/>
                    <a:gd name="connsiteX63" fmla="*/ 549520 w 608989"/>
                    <a:gd name="connsiteY63" fmla="*/ 99880 h 474764"/>
                    <a:gd name="connsiteX64" fmla="*/ 556941 w 608989"/>
                    <a:gd name="connsiteY64" fmla="*/ 104069 h 474764"/>
                    <a:gd name="connsiteX65" fmla="*/ 556941 w 608989"/>
                    <a:gd name="connsiteY65" fmla="*/ 112285 h 474764"/>
                    <a:gd name="connsiteX66" fmla="*/ 491762 w 608989"/>
                    <a:gd name="connsiteY66" fmla="*/ 150304 h 474764"/>
                    <a:gd name="connsiteX67" fmla="*/ 421743 w 608989"/>
                    <a:gd name="connsiteY67" fmla="*/ 102780 h 474764"/>
                    <a:gd name="connsiteX68" fmla="*/ 416257 w 608989"/>
                    <a:gd name="connsiteY68" fmla="*/ 103263 h 474764"/>
                    <a:gd name="connsiteX69" fmla="*/ 238143 w 608989"/>
                    <a:gd name="connsiteY69" fmla="*/ 103263 h 474764"/>
                    <a:gd name="connsiteX70" fmla="*/ 168447 w 608989"/>
                    <a:gd name="connsiteY70" fmla="*/ 150304 h 474764"/>
                    <a:gd name="connsiteX71" fmla="*/ 103267 w 608989"/>
                    <a:gd name="connsiteY71" fmla="*/ 112446 h 474764"/>
                    <a:gd name="connsiteX72" fmla="*/ 103106 w 608989"/>
                    <a:gd name="connsiteY72" fmla="*/ 103908 h 474764"/>
                    <a:gd name="connsiteX73" fmla="*/ 110689 w 608989"/>
                    <a:gd name="connsiteY73" fmla="*/ 99880 h 474764"/>
                    <a:gd name="connsiteX74" fmla="*/ 159573 w 608989"/>
                    <a:gd name="connsiteY74" fmla="*/ 99880 h 474764"/>
                    <a:gd name="connsiteX75" fmla="*/ 164091 w 608989"/>
                    <a:gd name="connsiteY75" fmla="*/ 97786 h 474764"/>
                    <a:gd name="connsiteX76" fmla="*/ 164252 w 608989"/>
                    <a:gd name="connsiteY76" fmla="*/ 97464 h 474764"/>
                    <a:gd name="connsiteX77" fmla="*/ 180385 w 608989"/>
                    <a:gd name="connsiteY77" fmla="*/ 75232 h 474764"/>
                    <a:gd name="connsiteX78" fmla="*/ 164575 w 608989"/>
                    <a:gd name="connsiteY78" fmla="*/ 53162 h 474764"/>
                    <a:gd name="connsiteX79" fmla="*/ 164252 w 608989"/>
                    <a:gd name="connsiteY79" fmla="*/ 52679 h 474764"/>
                    <a:gd name="connsiteX80" fmla="*/ 160864 w 608989"/>
                    <a:gd name="connsiteY80" fmla="*/ 50423 h 474764"/>
                    <a:gd name="connsiteX81" fmla="*/ 160541 w 608989"/>
                    <a:gd name="connsiteY81" fmla="*/ 50423 h 474764"/>
                    <a:gd name="connsiteX82" fmla="*/ 110689 w 608989"/>
                    <a:gd name="connsiteY82" fmla="*/ 50262 h 474764"/>
                    <a:gd name="connsiteX83" fmla="*/ 103267 w 608989"/>
                    <a:gd name="connsiteY83" fmla="*/ 46235 h 474764"/>
                    <a:gd name="connsiteX84" fmla="*/ 103267 w 608989"/>
                    <a:gd name="connsiteY84" fmla="*/ 37858 h 474764"/>
                    <a:gd name="connsiteX85" fmla="*/ 168447 w 608989"/>
                    <a:gd name="connsiteY85" fmla="*/ 0 h 474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</a:cxnLst>
                  <a:rect l="l" t="t" r="r" b="b"/>
                  <a:pathLst>
                    <a:path w="608989" h="474764">
                      <a:moveTo>
                        <a:pt x="427673" y="372781"/>
                      </a:moveTo>
                      <a:cubicBezTo>
                        <a:pt x="408960" y="372781"/>
                        <a:pt x="393797" y="387926"/>
                        <a:pt x="393797" y="406614"/>
                      </a:cubicBezTo>
                      <a:cubicBezTo>
                        <a:pt x="393797" y="425303"/>
                        <a:pt x="408960" y="440448"/>
                        <a:pt x="427673" y="440448"/>
                      </a:cubicBezTo>
                      <a:cubicBezTo>
                        <a:pt x="446385" y="440448"/>
                        <a:pt x="461549" y="425303"/>
                        <a:pt x="461549" y="406614"/>
                      </a:cubicBezTo>
                      <a:cubicBezTo>
                        <a:pt x="461549" y="387926"/>
                        <a:pt x="446385" y="372781"/>
                        <a:pt x="427673" y="372781"/>
                      </a:cubicBezTo>
                      <a:close/>
                      <a:moveTo>
                        <a:pt x="149568" y="372781"/>
                      </a:moveTo>
                      <a:cubicBezTo>
                        <a:pt x="130855" y="372781"/>
                        <a:pt x="115692" y="387926"/>
                        <a:pt x="115692" y="406614"/>
                      </a:cubicBezTo>
                      <a:cubicBezTo>
                        <a:pt x="115692" y="425303"/>
                        <a:pt x="130855" y="440448"/>
                        <a:pt x="149568" y="440448"/>
                      </a:cubicBezTo>
                      <a:cubicBezTo>
                        <a:pt x="168280" y="440448"/>
                        <a:pt x="183444" y="425303"/>
                        <a:pt x="183444" y="406614"/>
                      </a:cubicBezTo>
                      <a:cubicBezTo>
                        <a:pt x="183444" y="387926"/>
                        <a:pt x="168280" y="372781"/>
                        <a:pt x="149568" y="372781"/>
                      </a:cubicBezTo>
                      <a:close/>
                      <a:moveTo>
                        <a:pt x="413316" y="194754"/>
                      </a:moveTo>
                      <a:lnTo>
                        <a:pt x="413316" y="269348"/>
                      </a:lnTo>
                      <a:lnTo>
                        <a:pt x="477196" y="269348"/>
                      </a:lnTo>
                      <a:cubicBezTo>
                        <a:pt x="486068" y="269348"/>
                        <a:pt x="489133" y="263387"/>
                        <a:pt x="483971" y="256137"/>
                      </a:cubicBezTo>
                      <a:lnTo>
                        <a:pt x="449611" y="207965"/>
                      </a:lnTo>
                      <a:cubicBezTo>
                        <a:pt x="444449" y="200715"/>
                        <a:pt x="432996" y="194754"/>
                        <a:pt x="424124" y="194754"/>
                      </a:cubicBezTo>
                      <a:close/>
                      <a:moveTo>
                        <a:pt x="231999" y="194754"/>
                      </a:moveTo>
                      <a:cubicBezTo>
                        <a:pt x="223127" y="194754"/>
                        <a:pt x="211351" y="200393"/>
                        <a:pt x="205705" y="207321"/>
                      </a:cubicBezTo>
                      <a:lnTo>
                        <a:pt x="165860" y="256782"/>
                      </a:lnTo>
                      <a:cubicBezTo>
                        <a:pt x="160376" y="263709"/>
                        <a:pt x="163118" y="269348"/>
                        <a:pt x="171990" y="269348"/>
                      </a:cubicBezTo>
                      <a:lnTo>
                        <a:pt x="374439" y="269348"/>
                      </a:lnTo>
                      <a:lnTo>
                        <a:pt x="374439" y="194754"/>
                      </a:lnTo>
                      <a:close/>
                      <a:moveTo>
                        <a:pt x="217965" y="162371"/>
                      </a:moveTo>
                      <a:lnTo>
                        <a:pt x="442030" y="162371"/>
                      </a:lnTo>
                      <a:cubicBezTo>
                        <a:pt x="454612" y="162371"/>
                        <a:pt x="470098" y="170427"/>
                        <a:pt x="477196" y="180577"/>
                      </a:cubicBezTo>
                      <a:lnTo>
                        <a:pt x="524783" y="248243"/>
                      </a:lnTo>
                      <a:cubicBezTo>
                        <a:pt x="528816" y="254043"/>
                        <a:pt x="536882" y="257910"/>
                        <a:pt x="544625" y="257910"/>
                      </a:cubicBezTo>
                      <a:cubicBezTo>
                        <a:pt x="546883" y="257910"/>
                        <a:pt x="548819" y="257748"/>
                        <a:pt x="550594" y="257104"/>
                      </a:cubicBezTo>
                      <a:lnTo>
                        <a:pt x="586728" y="245826"/>
                      </a:lnTo>
                      <a:cubicBezTo>
                        <a:pt x="593987" y="243571"/>
                        <a:pt x="600924" y="245021"/>
                        <a:pt x="605118" y="249693"/>
                      </a:cubicBezTo>
                      <a:cubicBezTo>
                        <a:pt x="608183" y="253398"/>
                        <a:pt x="609473" y="258554"/>
                        <a:pt x="608828" y="264354"/>
                      </a:cubicBezTo>
                      <a:lnTo>
                        <a:pt x="590277" y="401942"/>
                      </a:lnTo>
                      <a:cubicBezTo>
                        <a:pt x="588664" y="414992"/>
                        <a:pt x="576565" y="425625"/>
                        <a:pt x="563337" y="425625"/>
                      </a:cubicBezTo>
                      <a:lnTo>
                        <a:pt x="493166" y="425625"/>
                      </a:lnTo>
                      <a:cubicBezTo>
                        <a:pt x="484939" y="453981"/>
                        <a:pt x="458806" y="474764"/>
                        <a:pt x="427673" y="474764"/>
                      </a:cubicBezTo>
                      <a:cubicBezTo>
                        <a:pt x="396700" y="474764"/>
                        <a:pt x="370568" y="453981"/>
                        <a:pt x="362341" y="425625"/>
                      </a:cubicBezTo>
                      <a:lnTo>
                        <a:pt x="215061" y="425625"/>
                      </a:lnTo>
                      <a:cubicBezTo>
                        <a:pt x="206834" y="453981"/>
                        <a:pt x="180540" y="474764"/>
                        <a:pt x="149568" y="474764"/>
                      </a:cubicBezTo>
                      <a:cubicBezTo>
                        <a:pt x="118595" y="474764"/>
                        <a:pt x="92301" y="453981"/>
                        <a:pt x="84074" y="425625"/>
                      </a:cubicBezTo>
                      <a:lnTo>
                        <a:pt x="21485" y="425625"/>
                      </a:lnTo>
                      <a:cubicBezTo>
                        <a:pt x="14871" y="425625"/>
                        <a:pt x="8902" y="423048"/>
                        <a:pt x="4869" y="418214"/>
                      </a:cubicBezTo>
                      <a:cubicBezTo>
                        <a:pt x="836" y="413542"/>
                        <a:pt x="-777" y="407420"/>
                        <a:pt x="352" y="400814"/>
                      </a:cubicBezTo>
                      <a:lnTo>
                        <a:pt x="15516" y="309304"/>
                      </a:lnTo>
                      <a:cubicBezTo>
                        <a:pt x="17613" y="296576"/>
                        <a:pt x="29066" y="284332"/>
                        <a:pt x="41649" y="281593"/>
                      </a:cubicBezTo>
                      <a:lnTo>
                        <a:pt x="95850" y="269348"/>
                      </a:lnTo>
                      <a:cubicBezTo>
                        <a:pt x="105690" y="267093"/>
                        <a:pt x="119241" y="258554"/>
                        <a:pt x="125532" y="250660"/>
                      </a:cubicBezTo>
                      <a:lnTo>
                        <a:pt x="181992" y="179771"/>
                      </a:lnTo>
                      <a:cubicBezTo>
                        <a:pt x="189735" y="169943"/>
                        <a:pt x="205544" y="162371"/>
                        <a:pt x="217965" y="162371"/>
                      </a:cubicBezTo>
                      <a:close/>
                      <a:moveTo>
                        <a:pt x="168447" y="0"/>
                      </a:moveTo>
                      <a:cubicBezTo>
                        <a:pt x="200068" y="0"/>
                        <a:pt x="227011" y="19493"/>
                        <a:pt x="238143" y="47040"/>
                      </a:cubicBezTo>
                      <a:lnTo>
                        <a:pt x="416257" y="47040"/>
                      </a:lnTo>
                      <a:cubicBezTo>
                        <a:pt x="418193" y="47040"/>
                        <a:pt x="419968" y="47202"/>
                        <a:pt x="421743" y="47524"/>
                      </a:cubicBezTo>
                      <a:cubicBezTo>
                        <a:pt x="432875" y="19815"/>
                        <a:pt x="459979" y="0"/>
                        <a:pt x="491762" y="0"/>
                      </a:cubicBezTo>
                      <a:cubicBezTo>
                        <a:pt x="518543" y="0"/>
                        <a:pt x="543550" y="14499"/>
                        <a:pt x="556941" y="37858"/>
                      </a:cubicBezTo>
                      <a:cubicBezTo>
                        <a:pt x="558232" y="39952"/>
                        <a:pt x="558877" y="43335"/>
                        <a:pt x="557103" y="46396"/>
                      </a:cubicBezTo>
                      <a:cubicBezTo>
                        <a:pt x="555651" y="48812"/>
                        <a:pt x="552908" y="50262"/>
                        <a:pt x="549520" y="50262"/>
                      </a:cubicBezTo>
                      <a:cubicBezTo>
                        <a:pt x="549520" y="50262"/>
                        <a:pt x="513703" y="50423"/>
                        <a:pt x="500635" y="50423"/>
                      </a:cubicBezTo>
                      <a:cubicBezTo>
                        <a:pt x="497731" y="50423"/>
                        <a:pt x="496279" y="52357"/>
                        <a:pt x="496279" y="52357"/>
                      </a:cubicBezTo>
                      <a:lnTo>
                        <a:pt x="495957" y="52840"/>
                      </a:lnTo>
                      <a:cubicBezTo>
                        <a:pt x="489019" y="60895"/>
                        <a:pt x="481275" y="71366"/>
                        <a:pt x="479823" y="75071"/>
                      </a:cubicBezTo>
                      <a:cubicBezTo>
                        <a:pt x="481275" y="78777"/>
                        <a:pt x="489019" y="89087"/>
                        <a:pt x="495634" y="97142"/>
                      </a:cubicBezTo>
                      <a:lnTo>
                        <a:pt x="495957" y="97625"/>
                      </a:lnTo>
                      <a:cubicBezTo>
                        <a:pt x="496441" y="98269"/>
                        <a:pt x="498054" y="99719"/>
                        <a:pt x="499345" y="99719"/>
                      </a:cubicBezTo>
                      <a:cubicBezTo>
                        <a:pt x="511929" y="99719"/>
                        <a:pt x="549520" y="99880"/>
                        <a:pt x="549520" y="99880"/>
                      </a:cubicBezTo>
                      <a:cubicBezTo>
                        <a:pt x="552747" y="99880"/>
                        <a:pt x="555489" y="101491"/>
                        <a:pt x="556941" y="104069"/>
                      </a:cubicBezTo>
                      <a:cubicBezTo>
                        <a:pt x="558393" y="106485"/>
                        <a:pt x="558393" y="109868"/>
                        <a:pt x="556941" y="112285"/>
                      </a:cubicBezTo>
                      <a:cubicBezTo>
                        <a:pt x="543550" y="135644"/>
                        <a:pt x="518543" y="150304"/>
                        <a:pt x="491762" y="150304"/>
                      </a:cubicBezTo>
                      <a:cubicBezTo>
                        <a:pt x="459979" y="150304"/>
                        <a:pt x="432875" y="130489"/>
                        <a:pt x="421743" y="102780"/>
                      </a:cubicBezTo>
                      <a:cubicBezTo>
                        <a:pt x="419968" y="103102"/>
                        <a:pt x="418193" y="103263"/>
                        <a:pt x="416257" y="103263"/>
                      </a:cubicBezTo>
                      <a:lnTo>
                        <a:pt x="238143" y="103263"/>
                      </a:lnTo>
                      <a:cubicBezTo>
                        <a:pt x="227011" y="130811"/>
                        <a:pt x="200068" y="150304"/>
                        <a:pt x="168447" y="150304"/>
                      </a:cubicBezTo>
                      <a:cubicBezTo>
                        <a:pt x="141665" y="150304"/>
                        <a:pt x="116658" y="135805"/>
                        <a:pt x="103267" y="112446"/>
                      </a:cubicBezTo>
                      <a:cubicBezTo>
                        <a:pt x="101977" y="110352"/>
                        <a:pt x="101331" y="106969"/>
                        <a:pt x="103106" y="103908"/>
                      </a:cubicBezTo>
                      <a:cubicBezTo>
                        <a:pt x="104558" y="101330"/>
                        <a:pt x="107301" y="99880"/>
                        <a:pt x="110689" y="99880"/>
                      </a:cubicBezTo>
                      <a:cubicBezTo>
                        <a:pt x="110689" y="99880"/>
                        <a:pt x="146505" y="99880"/>
                        <a:pt x="159573" y="99880"/>
                      </a:cubicBezTo>
                      <a:cubicBezTo>
                        <a:pt x="162477" y="99880"/>
                        <a:pt x="163929" y="98108"/>
                        <a:pt x="164091" y="97786"/>
                      </a:cubicBezTo>
                      <a:lnTo>
                        <a:pt x="164252" y="97464"/>
                      </a:lnTo>
                      <a:cubicBezTo>
                        <a:pt x="171189" y="89248"/>
                        <a:pt x="178933" y="78777"/>
                        <a:pt x="180385" y="75232"/>
                      </a:cubicBezTo>
                      <a:cubicBezTo>
                        <a:pt x="178933" y="71527"/>
                        <a:pt x="171189" y="61217"/>
                        <a:pt x="164575" y="53162"/>
                      </a:cubicBezTo>
                      <a:lnTo>
                        <a:pt x="164252" y="52679"/>
                      </a:lnTo>
                      <a:cubicBezTo>
                        <a:pt x="163768" y="52034"/>
                        <a:pt x="162155" y="50423"/>
                        <a:pt x="160864" y="50423"/>
                      </a:cubicBezTo>
                      <a:lnTo>
                        <a:pt x="160541" y="50423"/>
                      </a:lnTo>
                      <a:cubicBezTo>
                        <a:pt x="147796" y="50423"/>
                        <a:pt x="110689" y="50262"/>
                        <a:pt x="110689" y="50262"/>
                      </a:cubicBezTo>
                      <a:cubicBezTo>
                        <a:pt x="107462" y="50262"/>
                        <a:pt x="104719" y="48812"/>
                        <a:pt x="103267" y="46235"/>
                      </a:cubicBezTo>
                      <a:cubicBezTo>
                        <a:pt x="101815" y="43657"/>
                        <a:pt x="101654" y="40435"/>
                        <a:pt x="103267" y="37858"/>
                      </a:cubicBezTo>
                      <a:cubicBezTo>
                        <a:pt x="116497" y="14499"/>
                        <a:pt x="141665" y="0"/>
                        <a:pt x="168447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8479514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1425099" y="1438973"/>
            <a:ext cx="9341802" cy="2363597"/>
          </a:xfrm>
        </p:spPr>
        <p:txBody>
          <a:bodyPr>
            <a:noAutofit/>
          </a:bodyPr>
          <a:lstStyle/>
          <a:p>
            <a:pPr defTabSz="913765"/>
            <a:r>
              <a:rPr lang="en-US" altLang="zh-CN" sz="960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  <a:t>THANKS</a:t>
            </a:r>
            <a:br>
              <a:rPr lang="en-US" altLang="zh-CN" sz="400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</a:br>
            <a:r>
              <a:rPr lang="en-US" altLang="zh-CN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  <a:t>AND YOUR SLOGAN HERE</a:t>
            </a:r>
            <a:endParaRPr lang="zh-CN" altLang="en-US" sz="4000" dirty="0">
              <a:solidFill>
                <a:srgbClr val="2816B6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E5A80DC-1530-4B81-9014-9816DF4D9233}"/>
              </a:ext>
            </a:extLst>
          </p:cNvPr>
          <p:cNvGrpSpPr>
            <a:grpSpLocks noChangeAspect="1"/>
          </p:cNvGrpSpPr>
          <p:nvPr/>
        </p:nvGrpSpPr>
        <p:grpSpPr>
          <a:xfrm>
            <a:off x="0" y="1466819"/>
            <a:ext cx="11518900" cy="4330762"/>
            <a:chOff x="0" y="1466819"/>
            <a:chExt cx="11518900" cy="4330762"/>
          </a:xfrm>
        </p:grpSpPr>
        <p:cxnSp>
          <p:nvCxnSpPr>
            <p:cNvPr id="6" name="直接连接符 5">
              <a:extLst>
                <a:ext uri="{FF2B5EF4-FFF2-40B4-BE49-F238E27FC236}">
                  <a16:creationId xmlns:a16="http://schemas.microsoft.com/office/drawing/2014/main" id="{D1F3B49E-2854-4627-9415-BCE82B11DDF4}"/>
                </a:ext>
              </a:extLst>
            </p:cNvPr>
            <p:cNvCxnSpPr/>
            <p:nvPr/>
          </p:nvCxnSpPr>
          <p:spPr>
            <a:xfrm>
              <a:off x="6327271" y="1466819"/>
              <a:ext cx="0" cy="4330762"/>
            </a:xfrm>
            <a:prstGeom prst="line">
              <a:avLst/>
            </a:prstGeom>
            <a:ln w="12700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DEAAC352-D540-43D8-A516-9AF57A0B5B32}"/>
                </a:ext>
              </a:extLst>
            </p:cNvPr>
            <p:cNvSpPr/>
            <p:nvPr/>
          </p:nvSpPr>
          <p:spPr>
            <a:xfrm>
              <a:off x="0" y="2544810"/>
              <a:ext cx="3684760" cy="1051584"/>
            </a:xfrm>
            <a:prstGeom prst="rect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/>
              <a:r>
                <a:rPr lang="zh-CN" altLang="en-US" sz="2400" b="1" dirty="0">
                  <a:solidFill>
                    <a:schemeClr val="accent1"/>
                  </a:solidFill>
                  <a:cs typeface="+mn-ea"/>
                  <a:sym typeface="+mn-lt"/>
                </a:rPr>
                <a:t>目录</a:t>
              </a:r>
              <a:br>
                <a:rPr lang="zh-CN" altLang="en-US" sz="2400" b="1" dirty="0">
                  <a:solidFill>
                    <a:schemeClr val="accent1"/>
                  </a:solidFill>
                  <a:cs typeface="+mn-ea"/>
                  <a:sym typeface="+mn-lt"/>
                </a:rPr>
              </a:br>
              <a:r>
                <a:rPr lang="en-US" altLang="zh-CN" sz="2400" b="1" dirty="0">
                  <a:solidFill>
                    <a:schemeClr val="accent1"/>
                  </a:solidFill>
                  <a:cs typeface="+mn-ea"/>
                  <a:sym typeface="+mn-lt"/>
                </a:rPr>
                <a:t>CONTENT</a:t>
              </a:r>
            </a:p>
          </p:txBody>
        </p:sp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6327271" y="3366099"/>
              <a:ext cx="5191629" cy="5322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6327271" y="4315739"/>
              <a:ext cx="5191629" cy="5322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3472405" y="1466819"/>
              <a:ext cx="2854867" cy="532202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项目一：营销微应用服务平台</a:t>
              </a:r>
              <a:endParaRPr lang="id-ID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4" name="文本框 13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6327271" y="2416459"/>
              <a:ext cx="3244991" cy="532202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项目二：车网互动公共服务平台</a:t>
              </a:r>
              <a:endParaRPr lang="id-ID" altLang="zh-CN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5" name="文本框 14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4398380" y="3366099"/>
              <a:ext cx="1928892" cy="532202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掌握点</a:t>
              </a:r>
              <a:endParaRPr lang="id-ID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6" name="文本框 15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6327270" y="4315739"/>
              <a:ext cx="1928892" cy="532202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不足</a:t>
              </a:r>
              <a:endParaRPr lang="id-ID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5162308" y="5265379"/>
              <a:ext cx="1164963" cy="532202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未来规划</a:t>
              </a:r>
              <a:endParaRPr lang="id-ID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6327271" y="5265379"/>
              <a:ext cx="5191629" cy="5322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 altLang="zh-CN" sz="1100" dirty="0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932028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191221" y="2981325"/>
            <a:ext cx="4791016" cy="895350"/>
          </a:xfrm>
        </p:spPr>
        <p:txBody>
          <a:bodyPr>
            <a:noAutofit/>
          </a:bodyPr>
          <a:lstStyle/>
          <a:p>
            <a:r>
              <a:rPr lang="zh-CN" altLang="en-US" sz="3600" dirty="0">
                <a:latin typeface="+mn-lt"/>
                <a:ea typeface="+mn-ea"/>
                <a:cs typeface="+mn-ea"/>
                <a:sym typeface="+mn-lt"/>
              </a:rPr>
              <a:t>营销微应用服务平台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74177" y="308270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/01</a:t>
            </a:r>
            <a:endParaRPr lang="zh-CN" altLang="en-US" spc="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7FBB759-2DC4-43A7-BD6D-70435B380C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负责工作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99F03F9-27F8-48AB-95FE-6E16004347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4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C2C97F30-46D4-44DA-9336-2A04ED49EABC}"/>
              </a:ext>
            </a:extLst>
          </p:cNvPr>
          <p:cNvGrpSpPr>
            <a:grpSpLocks noChangeAspect="1"/>
          </p:cNvGrpSpPr>
          <p:nvPr/>
        </p:nvGrpSpPr>
        <p:grpSpPr>
          <a:xfrm>
            <a:off x="674686" y="1325009"/>
            <a:ext cx="9599706" cy="3767651"/>
            <a:chOff x="673100" y="1354418"/>
            <a:chExt cx="9599706" cy="2134088"/>
          </a:xfrm>
        </p:grpSpPr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CE954A4D-5300-4298-8943-475694C28BA5}"/>
                </a:ext>
              </a:extLst>
            </p:cNvPr>
            <p:cNvSpPr/>
            <p:nvPr/>
          </p:nvSpPr>
          <p:spPr bwMode="auto">
            <a:xfrm>
              <a:off x="1559441" y="1354418"/>
              <a:ext cx="554182" cy="420968"/>
            </a:xfrm>
            <a:custGeom>
              <a:avLst/>
              <a:gdLst>
                <a:gd name="T0" fmla="*/ 2664 w 2711"/>
                <a:gd name="T1" fmla="*/ 1581 h 2062"/>
                <a:gd name="T2" fmla="*/ 909 w 2711"/>
                <a:gd name="T3" fmla="*/ 1581 h 2062"/>
                <a:gd name="T4" fmla="*/ 861 w 2711"/>
                <a:gd name="T5" fmla="*/ 1534 h 2062"/>
                <a:gd name="T6" fmla="*/ 861 w 2711"/>
                <a:gd name="T7" fmla="*/ 434 h 2062"/>
                <a:gd name="T8" fmla="*/ 909 w 2711"/>
                <a:gd name="T9" fmla="*/ 386 h 2062"/>
                <a:gd name="T10" fmla="*/ 2664 w 2711"/>
                <a:gd name="T11" fmla="*/ 386 h 2062"/>
                <a:gd name="T12" fmla="*/ 2711 w 2711"/>
                <a:gd name="T13" fmla="*/ 434 h 2062"/>
                <a:gd name="T14" fmla="*/ 2711 w 2711"/>
                <a:gd name="T15" fmla="*/ 1534 h 2062"/>
                <a:gd name="T16" fmla="*/ 2664 w 2711"/>
                <a:gd name="T17" fmla="*/ 1581 h 2062"/>
                <a:gd name="T18" fmla="*/ 2177 w 2711"/>
                <a:gd name="T19" fmla="*/ 1928 h 2062"/>
                <a:gd name="T20" fmla="*/ 2000 w 2711"/>
                <a:gd name="T21" fmla="*/ 1928 h 2062"/>
                <a:gd name="T22" fmla="*/ 2000 w 2711"/>
                <a:gd name="T23" fmla="*/ 1715 h 2062"/>
                <a:gd name="T24" fmla="*/ 1573 w 2711"/>
                <a:gd name="T25" fmla="*/ 1715 h 2062"/>
                <a:gd name="T26" fmla="*/ 1573 w 2711"/>
                <a:gd name="T27" fmla="*/ 1928 h 2062"/>
                <a:gd name="T28" fmla="*/ 1395 w 2711"/>
                <a:gd name="T29" fmla="*/ 1928 h 2062"/>
                <a:gd name="T30" fmla="*/ 1329 w 2711"/>
                <a:gd name="T31" fmla="*/ 1995 h 2062"/>
                <a:gd name="T32" fmla="*/ 1395 w 2711"/>
                <a:gd name="T33" fmla="*/ 2062 h 2062"/>
                <a:gd name="T34" fmla="*/ 1640 w 2711"/>
                <a:gd name="T35" fmla="*/ 2062 h 2062"/>
                <a:gd name="T36" fmla="*/ 1933 w 2711"/>
                <a:gd name="T37" fmla="*/ 2062 h 2062"/>
                <a:gd name="T38" fmla="*/ 2177 w 2711"/>
                <a:gd name="T39" fmla="*/ 2062 h 2062"/>
                <a:gd name="T40" fmla="*/ 2244 w 2711"/>
                <a:gd name="T41" fmla="*/ 1995 h 2062"/>
                <a:gd name="T42" fmla="*/ 2177 w 2711"/>
                <a:gd name="T43" fmla="*/ 1928 h 2062"/>
                <a:gd name="T44" fmla="*/ 1065 w 2711"/>
                <a:gd name="T45" fmla="*/ 253 h 2062"/>
                <a:gd name="T46" fmla="*/ 909 w 2711"/>
                <a:gd name="T47" fmla="*/ 253 h 2062"/>
                <a:gd name="T48" fmla="*/ 880 w 2711"/>
                <a:gd name="T49" fmla="*/ 255 h 2062"/>
                <a:gd name="T50" fmla="*/ 863 w 2711"/>
                <a:gd name="T51" fmla="*/ 253 h 2062"/>
                <a:gd name="T52" fmla="*/ 201 w 2711"/>
                <a:gd name="T53" fmla="*/ 253 h 2062"/>
                <a:gd name="T54" fmla="*/ 135 w 2711"/>
                <a:gd name="T55" fmla="*/ 320 h 2062"/>
                <a:gd name="T56" fmla="*/ 201 w 2711"/>
                <a:gd name="T57" fmla="*/ 386 h 2062"/>
                <a:gd name="T58" fmla="*/ 735 w 2711"/>
                <a:gd name="T59" fmla="*/ 386 h 2062"/>
                <a:gd name="T60" fmla="*/ 728 w 2711"/>
                <a:gd name="T61" fmla="*/ 434 h 2062"/>
                <a:gd name="T62" fmla="*/ 728 w 2711"/>
                <a:gd name="T63" fmla="*/ 558 h 2062"/>
                <a:gd name="T64" fmla="*/ 201 w 2711"/>
                <a:gd name="T65" fmla="*/ 558 h 2062"/>
                <a:gd name="T66" fmla="*/ 135 w 2711"/>
                <a:gd name="T67" fmla="*/ 624 h 2062"/>
                <a:gd name="T68" fmla="*/ 201 w 2711"/>
                <a:gd name="T69" fmla="*/ 691 h 2062"/>
                <a:gd name="T70" fmla="*/ 728 w 2711"/>
                <a:gd name="T71" fmla="*/ 691 h 2062"/>
                <a:gd name="T72" fmla="*/ 728 w 2711"/>
                <a:gd name="T73" fmla="*/ 863 h 2062"/>
                <a:gd name="T74" fmla="*/ 201 w 2711"/>
                <a:gd name="T75" fmla="*/ 863 h 2062"/>
                <a:gd name="T76" fmla="*/ 135 w 2711"/>
                <a:gd name="T77" fmla="*/ 929 h 2062"/>
                <a:gd name="T78" fmla="*/ 201 w 2711"/>
                <a:gd name="T79" fmla="*/ 996 h 2062"/>
                <a:gd name="T80" fmla="*/ 728 w 2711"/>
                <a:gd name="T81" fmla="*/ 996 h 2062"/>
                <a:gd name="T82" fmla="*/ 728 w 2711"/>
                <a:gd name="T83" fmla="*/ 1534 h 2062"/>
                <a:gd name="T84" fmla="*/ 909 w 2711"/>
                <a:gd name="T85" fmla="*/ 1715 h 2062"/>
                <a:gd name="T86" fmla="*/ 1065 w 2711"/>
                <a:gd name="T87" fmla="*/ 1715 h 2062"/>
                <a:gd name="T88" fmla="*/ 1065 w 2711"/>
                <a:gd name="T89" fmla="*/ 1995 h 2062"/>
                <a:gd name="T90" fmla="*/ 998 w 2711"/>
                <a:gd name="T91" fmla="*/ 2062 h 2062"/>
                <a:gd name="T92" fmla="*/ 67 w 2711"/>
                <a:gd name="T93" fmla="*/ 2062 h 2062"/>
                <a:gd name="T94" fmla="*/ 0 w 2711"/>
                <a:gd name="T95" fmla="*/ 1995 h 2062"/>
                <a:gd name="T96" fmla="*/ 0 w 2711"/>
                <a:gd name="T97" fmla="*/ 66 h 2062"/>
                <a:gd name="T98" fmla="*/ 67 w 2711"/>
                <a:gd name="T99" fmla="*/ 0 h 2062"/>
                <a:gd name="T100" fmla="*/ 998 w 2711"/>
                <a:gd name="T101" fmla="*/ 0 h 2062"/>
                <a:gd name="T102" fmla="*/ 1065 w 2711"/>
                <a:gd name="T103" fmla="*/ 66 h 2062"/>
                <a:gd name="T104" fmla="*/ 1065 w 2711"/>
                <a:gd name="T105" fmla="*/ 253 h 2062"/>
                <a:gd name="T106" fmla="*/ 430 w 2711"/>
                <a:gd name="T107" fmla="*/ 1569 h 2062"/>
                <a:gd name="T108" fmla="*/ 532 w 2711"/>
                <a:gd name="T109" fmla="*/ 1672 h 2062"/>
                <a:gd name="T110" fmla="*/ 635 w 2711"/>
                <a:gd name="T111" fmla="*/ 1569 h 2062"/>
                <a:gd name="T112" fmla="*/ 532 w 2711"/>
                <a:gd name="T113" fmla="*/ 1466 h 2062"/>
                <a:gd name="T114" fmla="*/ 430 w 2711"/>
                <a:gd name="T115" fmla="*/ 1569 h 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711" h="2062">
                  <a:moveTo>
                    <a:pt x="2664" y="1581"/>
                  </a:moveTo>
                  <a:lnTo>
                    <a:pt x="909" y="1581"/>
                  </a:lnTo>
                  <a:cubicBezTo>
                    <a:pt x="883" y="1581"/>
                    <a:pt x="861" y="1560"/>
                    <a:pt x="861" y="1534"/>
                  </a:cubicBezTo>
                  <a:lnTo>
                    <a:pt x="861" y="434"/>
                  </a:lnTo>
                  <a:cubicBezTo>
                    <a:pt x="861" y="407"/>
                    <a:pt x="883" y="386"/>
                    <a:pt x="909" y="386"/>
                  </a:cubicBezTo>
                  <a:lnTo>
                    <a:pt x="2664" y="386"/>
                  </a:lnTo>
                  <a:cubicBezTo>
                    <a:pt x="2690" y="386"/>
                    <a:pt x="2711" y="408"/>
                    <a:pt x="2711" y="434"/>
                  </a:cubicBezTo>
                  <a:lnTo>
                    <a:pt x="2711" y="1534"/>
                  </a:lnTo>
                  <a:cubicBezTo>
                    <a:pt x="2711" y="1560"/>
                    <a:pt x="2690" y="1581"/>
                    <a:pt x="2664" y="1581"/>
                  </a:cubicBezTo>
                  <a:close/>
                  <a:moveTo>
                    <a:pt x="2177" y="1928"/>
                  </a:moveTo>
                  <a:lnTo>
                    <a:pt x="2000" y="1928"/>
                  </a:lnTo>
                  <a:lnTo>
                    <a:pt x="2000" y="1715"/>
                  </a:lnTo>
                  <a:lnTo>
                    <a:pt x="1573" y="1715"/>
                  </a:lnTo>
                  <a:lnTo>
                    <a:pt x="1573" y="1928"/>
                  </a:lnTo>
                  <a:lnTo>
                    <a:pt x="1395" y="1928"/>
                  </a:lnTo>
                  <a:cubicBezTo>
                    <a:pt x="1358" y="1928"/>
                    <a:pt x="1329" y="1958"/>
                    <a:pt x="1329" y="1995"/>
                  </a:cubicBezTo>
                  <a:cubicBezTo>
                    <a:pt x="1329" y="2032"/>
                    <a:pt x="1358" y="2062"/>
                    <a:pt x="1395" y="2062"/>
                  </a:cubicBezTo>
                  <a:lnTo>
                    <a:pt x="1640" y="2062"/>
                  </a:lnTo>
                  <a:lnTo>
                    <a:pt x="1933" y="2062"/>
                  </a:lnTo>
                  <a:lnTo>
                    <a:pt x="2177" y="2062"/>
                  </a:lnTo>
                  <a:cubicBezTo>
                    <a:pt x="2214" y="2062"/>
                    <a:pt x="2244" y="2032"/>
                    <a:pt x="2244" y="1995"/>
                  </a:cubicBezTo>
                  <a:cubicBezTo>
                    <a:pt x="2244" y="1958"/>
                    <a:pt x="2214" y="1928"/>
                    <a:pt x="2177" y="1928"/>
                  </a:cubicBezTo>
                  <a:close/>
                  <a:moveTo>
                    <a:pt x="1065" y="253"/>
                  </a:moveTo>
                  <a:lnTo>
                    <a:pt x="909" y="253"/>
                  </a:lnTo>
                  <a:cubicBezTo>
                    <a:pt x="899" y="253"/>
                    <a:pt x="890" y="254"/>
                    <a:pt x="880" y="255"/>
                  </a:cubicBezTo>
                  <a:cubicBezTo>
                    <a:pt x="875" y="254"/>
                    <a:pt x="869" y="253"/>
                    <a:pt x="863" y="253"/>
                  </a:cubicBezTo>
                  <a:lnTo>
                    <a:pt x="201" y="253"/>
                  </a:lnTo>
                  <a:cubicBezTo>
                    <a:pt x="164" y="253"/>
                    <a:pt x="135" y="283"/>
                    <a:pt x="135" y="320"/>
                  </a:cubicBezTo>
                  <a:cubicBezTo>
                    <a:pt x="135" y="356"/>
                    <a:pt x="164" y="386"/>
                    <a:pt x="201" y="386"/>
                  </a:cubicBezTo>
                  <a:lnTo>
                    <a:pt x="735" y="386"/>
                  </a:lnTo>
                  <a:cubicBezTo>
                    <a:pt x="730" y="401"/>
                    <a:pt x="728" y="417"/>
                    <a:pt x="728" y="434"/>
                  </a:cubicBezTo>
                  <a:lnTo>
                    <a:pt x="728" y="558"/>
                  </a:lnTo>
                  <a:lnTo>
                    <a:pt x="201" y="558"/>
                  </a:lnTo>
                  <a:cubicBezTo>
                    <a:pt x="164" y="558"/>
                    <a:pt x="135" y="588"/>
                    <a:pt x="135" y="624"/>
                  </a:cubicBezTo>
                  <a:cubicBezTo>
                    <a:pt x="135" y="661"/>
                    <a:pt x="164" y="691"/>
                    <a:pt x="201" y="691"/>
                  </a:cubicBezTo>
                  <a:lnTo>
                    <a:pt x="728" y="691"/>
                  </a:lnTo>
                  <a:lnTo>
                    <a:pt x="728" y="863"/>
                  </a:lnTo>
                  <a:lnTo>
                    <a:pt x="201" y="863"/>
                  </a:lnTo>
                  <a:cubicBezTo>
                    <a:pt x="164" y="863"/>
                    <a:pt x="135" y="893"/>
                    <a:pt x="135" y="929"/>
                  </a:cubicBezTo>
                  <a:cubicBezTo>
                    <a:pt x="135" y="966"/>
                    <a:pt x="164" y="996"/>
                    <a:pt x="201" y="996"/>
                  </a:cubicBezTo>
                  <a:lnTo>
                    <a:pt x="728" y="996"/>
                  </a:lnTo>
                  <a:lnTo>
                    <a:pt x="728" y="1534"/>
                  </a:lnTo>
                  <a:cubicBezTo>
                    <a:pt x="728" y="1633"/>
                    <a:pt x="809" y="1715"/>
                    <a:pt x="909" y="1715"/>
                  </a:cubicBezTo>
                  <a:lnTo>
                    <a:pt x="1065" y="1715"/>
                  </a:lnTo>
                  <a:lnTo>
                    <a:pt x="1065" y="1995"/>
                  </a:lnTo>
                  <a:cubicBezTo>
                    <a:pt x="1065" y="2032"/>
                    <a:pt x="1035" y="2062"/>
                    <a:pt x="998" y="2062"/>
                  </a:cubicBezTo>
                  <a:lnTo>
                    <a:pt x="67" y="2062"/>
                  </a:lnTo>
                  <a:cubicBezTo>
                    <a:pt x="30" y="2062"/>
                    <a:pt x="0" y="2032"/>
                    <a:pt x="0" y="1995"/>
                  </a:cubicBezTo>
                  <a:lnTo>
                    <a:pt x="0" y="66"/>
                  </a:lnTo>
                  <a:cubicBezTo>
                    <a:pt x="0" y="29"/>
                    <a:pt x="30" y="0"/>
                    <a:pt x="67" y="0"/>
                  </a:cubicBezTo>
                  <a:lnTo>
                    <a:pt x="998" y="0"/>
                  </a:lnTo>
                  <a:cubicBezTo>
                    <a:pt x="1035" y="0"/>
                    <a:pt x="1065" y="29"/>
                    <a:pt x="1065" y="66"/>
                  </a:cubicBezTo>
                  <a:lnTo>
                    <a:pt x="1065" y="253"/>
                  </a:lnTo>
                  <a:close/>
                  <a:moveTo>
                    <a:pt x="430" y="1569"/>
                  </a:moveTo>
                  <a:cubicBezTo>
                    <a:pt x="430" y="1626"/>
                    <a:pt x="476" y="1672"/>
                    <a:pt x="532" y="1672"/>
                  </a:cubicBezTo>
                  <a:cubicBezTo>
                    <a:pt x="589" y="1672"/>
                    <a:pt x="635" y="1626"/>
                    <a:pt x="635" y="1569"/>
                  </a:cubicBezTo>
                  <a:cubicBezTo>
                    <a:pt x="635" y="1512"/>
                    <a:pt x="589" y="1466"/>
                    <a:pt x="532" y="1466"/>
                  </a:cubicBezTo>
                  <a:cubicBezTo>
                    <a:pt x="476" y="1466"/>
                    <a:pt x="430" y="1512"/>
                    <a:pt x="430" y="15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>
                <a:cs typeface="+mn-ea"/>
                <a:sym typeface="+mn-lt"/>
              </a:endParaRPr>
            </a:p>
          </p:txBody>
        </p: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65655360-1676-449E-A2A4-683A8E9DD83A}"/>
                </a:ext>
              </a:extLst>
            </p:cNvPr>
            <p:cNvGrpSpPr/>
            <p:nvPr/>
          </p:nvGrpSpPr>
          <p:grpSpPr>
            <a:xfrm>
              <a:off x="673100" y="1905734"/>
              <a:ext cx="2453473" cy="1082008"/>
              <a:chOff x="983020" y="2248544"/>
              <a:chExt cx="1859222" cy="1082008"/>
            </a:xfrm>
          </p:grpSpPr>
          <p:sp>
            <p:nvSpPr>
              <p:cNvPr id="27" name="矩形 26">
                <a:extLst>
                  <a:ext uri="{FF2B5EF4-FFF2-40B4-BE49-F238E27FC236}">
                    <a16:creationId xmlns:a16="http://schemas.microsoft.com/office/drawing/2014/main" id="{698E6602-8BEC-45F7-BE9D-F71B6D4C3EA3}"/>
                  </a:ext>
                </a:extLst>
              </p:cNvPr>
              <p:cNvSpPr/>
              <p:nvPr/>
            </p:nvSpPr>
            <p:spPr bwMode="auto">
              <a:xfrm>
                <a:off x="983020" y="2248544"/>
                <a:ext cx="1763279" cy="392113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400"/>
                <a:r>
                  <a:rPr lang="zh-CN" altLang="en-US" sz="1600" b="1" kern="0" dirty="0">
                    <a:cs typeface="+mn-ea"/>
                    <a:sym typeface="+mn-lt"/>
                  </a:rPr>
                  <a:t>现场问题排查</a:t>
                </a:r>
              </a:p>
            </p:txBody>
          </p:sp>
          <p:sp>
            <p:nvSpPr>
              <p:cNvPr id="29" name="矩形 28">
                <a:extLst>
                  <a:ext uri="{FF2B5EF4-FFF2-40B4-BE49-F238E27FC236}">
                    <a16:creationId xmlns:a16="http://schemas.microsoft.com/office/drawing/2014/main" id="{75AADD5C-4C44-4ADD-A795-E09C7964193D}"/>
                  </a:ext>
                </a:extLst>
              </p:cNvPr>
              <p:cNvSpPr/>
              <p:nvPr/>
            </p:nvSpPr>
            <p:spPr>
              <a:xfrm>
                <a:off x="1078963" y="2768303"/>
                <a:ext cx="1763279" cy="562249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/>
                <a:endParaRPr lang="en-US" altLang="zh-CN" sz="1000" dirty="0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</p:grpSp>
        <p:cxnSp>
          <p:nvCxnSpPr>
            <p:cNvPr id="8" name="直接连接符 7">
              <a:extLst>
                <a:ext uri="{FF2B5EF4-FFF2-40B4-BE49-F238E27FC236}">
                  <a16:creationId xmlns:a16="http://schemas.microsoft.com/office/drawing/2014/main" id="{3F7DFF62-5653-44D7-A1AE-27950AC9128A}"/>
                </a:ext>
              </a:extLst>
            </p:cNvPr>
            <p:cNvCxnSpPr/>
            <p:nvPr/>
          </p:nvCxnSpPr>
          <p:spPr>
            <a:xfrm>
              <a:off x="3256355" y="2037803"/>
              <a:ext cx="0" cy="1386716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C830402A-FAE6-488A-9AAC-B97CF459E048}"/>
                </a:ext>
              </a:extLst>
            </p:cNvPr>
            <p:cNvSpPr/>
            <p:nvPr/>
          </p:nvSpPr>
          <p:spPr bwMode="auto">
            <a:xfrm>
              <a:off x="5121563" y="1358313"/>
              <a:ext cx="554182" cy="420968"/>
            </a:xfrm>
            <a:custGeom>
              <a:avLst/>
              <a:gdLst>
                <a:gd name="T0" fmla="*/ 2664 w 2711"/>
                <a:gd name="T1" fmla="*/ 1581 h 2062"/>
                <a:gd name="T2" fmla="*/ 909 w 2711"/>
                <a:gd name="T3" fmla="*/ 1581 h 2062"/>
                <a:gd name="T4" fmla="*/ 861 w 2711"/>
                <a:gd name="T5" fmla="*/ 1534 h 2062"/>
                <a:gd name="T6" fmla="*/ 861 w 2711"/>
                <a:gd name="T7" fmla="*/ 434 h 2062"/>
                <a:gd name="T8" fmla="*/ 909 w 2711"/>
                <a:gd name="T9" fmla="*/ 386 h 2062"/>
                <a:gd name="T10" fmla="*/ 2664 w 2711"/>
                <a:gd name="T11" fmla="*/ 386 h 2062"/>
                <a:gd name="T12" fmla="*/ 2711 w 2711"/>
                <a:gd name="T13" fmla="*/ 434 h 2062"/>
                <a:gd name="T14" fmla="*/ 2711 w 2711"/>
                <a:gd name="T15" fmla="*/ 1534 h 2062"/>
                <a:gd name="T16" fmla="*/ 2664 w 2711"/>
                <a:gd name="T17" fmla="*/ 1581 h 2062"/>
                <a:gd name="T18" fmla="*/ 2177 w 2711"/>
                <a:gd name="T19" fmla="*/ 1928 h 2062"/>
                <a:gd name="T20" fmla="*/ 2000 w 2711"/>
                <a:gd name="T21" fmla="*/ 1928 h 2062"/>
                <a:gd name="T22" fmla="*/ 2000 w 2711"/>
                <a:gd name="T23" fmla="*/ 1715 h 2062"/>
                <a:gd name="T24" fmla="*/ 1573 w 2711"/>
                <a:gd name="T25" fmla="*/ 1715 h 2062"/>
                <a:gd name="T26" fmla="*/ 1573 w 2711"/>
                <a:gd name="T27" fmla="*/ 1928 h 2062"/>
                <a:gd name="T28" fmla="*/ 1395 w 2711"/>
                <a:gd name="T29" fmla="*/ 1928 h 2062"/>
                <a:gd name="T30" fmla="*/ 1329 w 2711"/>
                <a:gd name="T31" fmla="*/ 1995 h 2062"/>
                <a:gd name="T32" fmla="*/ 1395 w 2711"/>
                <a:gd name="T33" fmla="*/ 2062 h 2062"/>
                <a:gd name="T34" fmla="*/ 1640 w 2711"/>
                <a:gd name="T35" fmla="*/ 2062 h 2062"/>
                <a:gd name="T36" fmla="*/ 1933 w 2711"/>
                <a:gd name="T37" fmla="*/ 2062 h 2062"/>
                <a:gd name="T38" fmla="*/ 2177 w 2711"/>
                <a:gd name="T39" fmla="*/ 2062 h 2062"/>
                <a:gd name="T40" fmla="*/ 2244 w 2711"/>
                <a:gd name="T41" fmla="*/ 1995 h 2062"/>
                <a:gd name="T42" fmla="*/ 2177 w 2711"/>
                <a:gd name="T43" fmla="*/ 1928 h 2062"/>
                <a:gd name="T44" fmla="*/ 1065 w 2711"/>
                <a:gd name="T45" fmla="*/ 253 h 2062"/>
                <a:gd name="T46" fmla="*/ 909 w 2711"/>
                <a:gd name="T47" fmla="*/ 253 h 2062"/>
                <a:gd name="T48" fmla="*/ 880 w 2711"/>
                <a:gd name="T49" fmla="*/ 255 h 2062"/>
                <a:gd name="T50" fmla="*/ 863 w 2711"/>
                <a:gd name="T51" fmla="*/ 253 h 2062"/>
                <a:gd name="T52" fmla="*/ 201 w 2711"/>
                <a:gd name="T53" fmla="*/ 253 h 2062"/>
                <a:gd name="T54" fmla="*/ 135 w 2711"/>
                <a:gd name="T55" fmla="*/ 320 h 2062"/>
                <a:gd name="T56" fmla="*/ 201 w 2711"/>
                <a:gd name="T57" fmla="*/ 386 h 2062"/>
                <a:gd name="T58" fmla="*/ 735 w 2711"/>
                <a:gd name="T59" fmla="*/ 386 h 2062"/>
                <a:gd name="T60" fmla="*/ 728 w 2711"/>
                <a:gd name="T61" fmla="*/ 434 h 2062"/>
                <a:gd name="T62" fmla="*/ 728 w 2711"/>
                <a:gd name="T63" fmla="*/ 558 h 2062"/>
                <a:gd name="T64" fmla="*/ 201 w 2711"/>
                <a:gd name="T65" fmla="*/ 558 h 2062"/>
                <a:gd name="T66" fmla="*/ 135 w 2711"/>
                <a:gd name="T67" fmla="*/ 624 h 2062"/>
                <a:gd name="T68" fmla="*/ 201 w 2711"/>
                <a:gd name="T69" fmla="*/ 691 h 2062"/>
                <a:gd name="T70" fmla="*/ 728 w 2711"/>
                <a:gd name="T71" fmla="*/ 691 h 2062"/>
                <a:gd name="T72" fmla="*/ 728 w 2711"/>
                <a:gd name="T73" fmla="*/ 863 h 2062"/>
                <a:gd name="T74" fmla="*/ 201 w 2711"/>
                <a:gd name="T75" fmla="*/ 863 h 2062"/>
                <a:gd name="T76" fmla="*/ 135 w 2711"/>
                <a:gd name="T77" fmla="*/ 929 h 2062"/>
                <a:gd name="T78" fmla="*/ 201 w 2711"/>
                <a:gd name="T79" fmla="*/ 996 h 2062"/>
                <a:gd name="T80" fmla="*/ 728 w 2711"/>
                <a:gd name="T81" fmla="*/ 996 h 2062"/>
                <a:gd name="T82" fmla="*/ 728 w 2711"/>
                <a:gd name="T83" fmla="*/ 1534 h 2062"/>
                <a:gd name="T84" fmla="*/ 909 w 2711"/>
                <a:gd name="T85" fmla="*/ 1715 h 2062"/>
                <a:gd name="T86" fmla="*/ 1065 w 2711"/>
                <a:gd name="T87" fmla="*/ 1715 h 2062"/>
                <a:gd name="T88" fmla="*/ 1065 w 2711"/>
                <a:gd name="T89" fmla="*/ 1995 h 2062"/>
                <a:gd name="T90" fmla="*/ 998 w 2711"/>
                <a:gd name="T91" fmla="*/ 2062 h 2062"/>
                <a:gd name="T92" fmla="*/ 67 w 2711"/>
                <a:gd name="T93" fmla="*/ 2062 h 2062"/>
                <a:gd name="T94" fmla="*/ 0 w 2711"/>
                <a:gd name="T95" fmla="*/ 1995 h 2062"/>
                <a:gd name="T96" fmla="*/ 0 w 2711"/>
                <a:gd name="T97" fmla="*/ 66 h 2062"/>
                <a:gd name="T98" fmla="*/ 67 w 2711"/>
                <a:gd name="T99" fmla="*/ 0 h 2062"/>
                <a:gd name="T100" fmla="*/ 998 w 2711"/>
                <a:gd name="T101" fmla="*/ 0 h 2062"/>
                <a:gd name="T102" fmla="*/ 1065 w 2711"/>
                <a:gd name="T103" fmla="*/ 66 h 2062"/>
                <a:gd name="T104" fmla="*/ 1065 w 2711"/>
                <a:gd name="T105" fmla="*/ 253 h 2062"/>
                <a:gd name="T106" fmla="*/ 430 w 2711"/>
                <a:gd name="T107" fmla="*/ 1569 h 2062"/>
                <a:gd name="T108" fmla="*/ 532 w 2711"/>
                <a:gd name="T109" fmla="*/ 1672 h 2062"/>
                <a:gd name="T110" fmla="*/ 635 w 2711"/>
                <a:gd name="T111" fmla="*/ 1569 h 2062"/>
                <a:gd name="T112" fmla="*/ 532 w 2711"/>
                <a:gd name="T113" fmla="*/ 1466 h 2062"/>
                <a:gd name="T114" fmla="*/ 430 w 2711"/>
                <a:gd name="T115" fmla="*/ 1569 h 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711" h="2062">
                  <a:moveTo>
                    <a:pt x="2664" y="1581"/>
                  </a:moveTo>
                  <a:lnTo>
                    <a:pt x="909" y="1581"/>
                  </a:lnTo>
                  <a:cubicBezTo>
                    <a:pt x="883" y="1581"/>
                    <a:pt x="861" y="1560"/>
                    <a:pt x="861" y="1534"/>
                  </a:cubicBezTo>
                  <a:lnTo>
                    <a:pt x="861" y="434"/>
                  </a:lnTo>
                  <a:cubicBezTo>
                    <a:pt x="861" y="407"/>
                    <a:pt x="883" y="386"/>
                    <a:pt x="909" y="386"/>
                  </a:cubicBezTo>
                  <a:lnTo>
                    <a:pt x="2664" y="386"/>
                  </a:lnTo>
                  <a:cubicBezTo>
                    <a:pt x="2690" y="386"/>
                    <a:pt x="2711" y="408"/>
                    <a:pt x="2711" y="434"/>
                  </a:cubicBezTo>
                  <a:lnTo>
                    <a:pt x="2711" y="1534"/>
                  </a:lnTo>
                  <a:cubicBezTo>
                    <a:pt x="2711" y="1560"/>
                    <a:pt x="2690" y="1581"/>
                    <a:pt x="2664" y="1581"/>
                  </a:cubicBezTo>
                  <a:close/>
                  <a:moveTo>
                    <a:pt x="2177" y="1928"/>
                  </a:moveTo>
                  <a:lnTo>
                    <a:pt x="2000" y="1928"/>
                  </a:lnTo>
                  <a:lnTo>
                    <a:pt x="2000" y="1715"/>
                  </a:lnTo>
                  <a:lnTo>
                    <a:pt x="1573" y="1715"/>
                  </a:lnTo>
                  <a:lnTo>
                    <a:pt x="1573" y="1928"/>
                  </a:lnTo>
                  <a:lnTo>
                    <a:pt x="1395" y="1928"/>
                  </a:lnTo>
                  <a:cubicBezTo>
                    <a:pt x="1358" y="1928"/>
                    <a:pt x="1329" y="1958"/>
                    <a:pt x="1329" y="1995"/>
                  </a:cubicBezTo>
                  <a:cubicBezTo>
                    <a:pt x="1329" y="2032"/>
                    <a:pt x="1358" y="2062"/>
                    <a:pt x="1395" y="2062"/>
                  </a:cubicBezTo>
                  <a:lnTo>
                    <a:pt x="1640" y="2062"/>
                  </a:lnTo>
                  <a:lnTo>
                    <a:pt x="1933" y="2062"/>
                  </a:lnTo>
                  <a:lnTo>
                    <a:pt x="2177" y="2062"/>
                  </a:lnTo>
                  <a:cubicBezTo>
                    <a:pt x="2214" y="2062"/>
                    <a:pt x="2244" y="2032"/>
                    <a:pt x="2244" y="1995"/>
                  </a:cubicBezTo>
                  <a:cubicBezTo>
                    <a:pt x="2244" y="1958"/>
                    <a:pt x="2214" y="1928"/>
                    <a:pt x="2177" y="1928"/>
                  </a:cubicBezTo>
                  <a:close/>
                  <a:moveTo>
                    <a:pt x="1065" y="253"/>
                  </a:moveTo>
                  <a:lnTo>
                    <a:pt x="909" y="253"/>
                  </a:lnTo>
                  <a:cubicBezTo>
                    <a:pt x="899" y="253"/>
                    <a:pt x="890" y="254"/>
                    <a:pt x="880" y="255"/>
                  </a:cubicBezTo>
                  <a:cubicBezTo>
                    <a:pt x="875" y="254"/>
                    <a:pt x="869" y="253"/>
                    <a:pt x="863" y="253"/>
                  </a:cubicBezTo>
                  <a:lnTo>
                    <a:pt x="201" y="253"/>
                  </a:lnTo>
                  <a:cubicBezTo>
                    <a:pt x="164" y="253"/>
                    <a:pt x="135" y="283"/>
                    <a:pt x="135" y="320"/>
                  </a:cubicBezTo>
                  <a:cubicBezTo>
                    <a:pt x="135" y="356"/>
                    <a:pt x="164" y="386"/>
                    <a:pt x="201" y="386"/>
                  </a:cubicBezTo>
                  <a:lnTo>
                    <a:pt x="735" y="386"/>
                  </a:lnTo>
                  <a:cubicBezTo>
                    <a:pt x="730" y="401"/>
                    <a:pt x="728" y="417"/>
                    <a:pt x="728" y="434"/>
                  </a:cubicBezTo>
                  <a:lnTo>
                    <a:pt x="728" y="558"/>
                  </a:lnTo>
                  <a:lnTo>
                    <a:pt x="201" y="558"/>
                  </a:lnTo>
                  <a:cubicBezTo>
                    <a:pt x="164" y="558"/>
                    <a:pt x="135" y="588"/>
                    <a:pt x="135" y="624"/>
                  </a:cubicBezTo>
                  <a:cubicBezTo>
                    <a:pt x="135" y="661"/>
                    <a:pt x="164" y="691"/>
                    <a:pt x="201" y="691"/>
                  </a:cubicBezTo>
                  <a:lnTo>
                    <a:pt x="728" y="691"/>
                  </a:lnTo>
                  <a:lnTo>
                    <a:pt x="728" y="863"/>
                  </a:lnTo>
                  <a:lnTo>
                    <a:pt x="201" y="863"/>
                  </a:lnTo>
                  <a:cubicBezTo>
                    <a:pt x="164" y="863"/>
                    <a:pt x="135" y="893"/>
                    <a:pt x="135" y="929"/>
                  </a:cubicBezTo>
                  <a:cubicBezTo>
                    <a:pt x="135" y="966"/>
                    <a:pt x="164" y="996"/>
                    <a:pt x="201" y="996"/>
                  </a:cubicBezTo>
                  <a:lnTo>
                    <a:pt x="728" y="996"/>
                  </a:lnTo>
                  <a:lnTo>
                    <a:pt x="728" y="1534"/>
                  </a:lnTo>
                  <a:cubicBezTo>
                    <a:pt x="728" y="1633"/>
                    <a:pt x="809" y="1715"/>
                    <a:pt x="909" y="1715"/>
                  </a:cubicBezTo>
                  <a:lnTo>
                    <a:pt x="1065" y="1715"/>
                  </a:lnTo>
                  <a:lnTo>
                    <a:pt x="1065" y="1995"/>
                  </a:lnTo>
                  <a:cubicBezTo>
                    <a:pt x="1065" y="2032"/>
                    <a:pt x="1035" y="2062"/>
                    <a:pt x="998" y="2062"/>
                  </a:cubicBezTo>
                  <a:lnTo>
                    <a:pt x="67" y="2062"/>
                  </a:lnTo>
                  <a:cubicBezTo>
                    <a:pt x="30" y="2062"/>
                    <a:pt x="0" y="2032"/>
                    <a:pt x="0" y="1995"/>
                  </a:cubicBezTo>
                  <a:lnTo>
                    <a:pt x="0" y="66"/>
                  </a:lnTo>
                  <a:cubicBezTo>
                    <a:pt x="0" y="29"/>
                    <a:pt x="30" y="0"/>
                    <a:pt x="67" y="0"/>
                  </a:cubicBezTo>
                  <a:lnTo>
                    <a:pt x="998" y="0"/>
                  </a:lnTo>
                  <a:cubicBezTo>
                    <a:pt x="1035" y="0"/>
                    <a:pt x="1065" y="29"/>
                    <a:pt x="1065" y="66"/>
                  </a:cubicBezTo>
                  <a:lnTo>
                    <a:pt x="1065" y="253"/>
                  </a:lnTo>
                  <a:close/>
                  <a:moveTo>
                    <a:pt x="430" y="1569"/>
                  </a:moveTo>
                  <a:cubicBezTo>
                    <a:pt x="430" y="1626"/>
                    <a:pt x="476" y="1672"/>
                    <a:pt x="532" y="1672"/>
                  </a:cubicBezTo>
                  <a:cubicBezTo>
                    <a:pt x="589" y="1672"/>
                    <a:pt x="635" y="1626"/>
                    <a:pt x="635" y="1569"/>
                  </a:cubicBezTo>
                  <a:cubicBezTo>
                    <a:pt x="635" y="1512"/>
                    <a:pt x="589" y="1466"/>
                    <a:pt x="532" y="1466"/>
                  </a:cubicBezTo>
                  <a:cubicBezTo>
                    <a:pt x="476" y="1466"/>
                    <a:pt x="430" y="1512"/>
                    <a:pt x="430" y="156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>
                <a:cs typeface="+mn-ea"/>
                <a:sym typeface="+mn-lt"/>
              </a:endParaRPr>
            </a:p>
          </p:txBody>
        </p: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EA27BA1F-81AC-4D8D-8AD7-A3C56B19FBBC}"/>
                </a:ext>
              </a:extLst>
            </p:cNvPr>
            <p:cNvGrpSpPr/>
            <p:nvPr/>
          </p:nvGrpSpPr>
          <p:grpSpPr>
            <a:xfrm>
              <a:off x="3710532" y="1942674"/>
              <a:ext cx="3325739" cy="1003884"/>
              <a:chOff x="1132901" y="2285484"/>
              <a:chExt cx="2520219" cy="1003884"/>
            </a:xfrm>
          </p:grpSpPr>
          <p:sp>
            <p:nvSpPr>
              <p:cNvPr id="24" name="矩形 23">
                <a:extLst>
                  <a:ext uri="{FF2B5EF4-FFF2-40B4-BE49-F238E27FC236}">
                    <a16:creationId xmlns:a16="http://schemas.microsoft.com/office/drawing/2014/main" id="{F935EB0C-DB18-48C9-A84A-2172F143803E}"/>
                  </a:ext>
                </a:extLst>
              </p:cNvPr>
              <p:cNvSpPr/>
              <p:nvPr/>
            </p:nvSpPr>
            <p:spPr bwMode="auto">
              <a:xfrm>
                <a:off x="1559196" y="2285484"/>
                <a:ext cx="1763279" cy="392113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400"/>
                <a:r>
                  <a:rPr lang="zh-CN" altLang="en-US" sz="1600" b="1" kern="0" dirty="0">
                    <a:cs typeface="+mn-ea"/>
                    <a:sym typeface="+mn-lt"/>
                  </a:rPr>
                  <a:t>代码优化</a:t>
                </a:r>
              </a:p>
            </p:txBody>
          </p:sp>
          <p:sp>
            <p:nvSpPr>
              <p:cNvPr id="25" name="矩形 24">
                <a:extLst>
                  <a:ext uri="{FF2B5EF4-FFF2-40B4-BE49-F238E27FC236}">
                    <a16:creationId xmlns:a16="http://schemas.microsoft.com/office/drawing/2014/main" id="{6AA42A61-10AF-4D71-8637-853CCC0FCFD7}"/>
                  </a:ext>
                </a:extLst>
              </p:cNvPr>
              <p:cNvSpPr/>
              <p:nvPr/>
            </p:nvSpPr>
            <p:spPr>
              <a:xfrm>
                <a:off x="1132901" y="2727119"/>
                <a:ext cx="2520219" cy="562249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/>
                <a:r>
                  <a:rPr lang="zh-CN" altLang="en-US" dirty="0">
                    <a:solidFill>
                      <a:schemeClr val="tx1"/>
                    </a:solidFill>
                    <a:cs typeface="+mn-ea"/>
                    <a:sym typeface="+mn-lt"/>
                  </a:rPr>
                  <a:t>方法封装</a:t>
                </a:r>
                <a:r>
                  <a:rPr lang="en-US" altLang="zh-CN" dirty="0">
                    <a:solidFill>
                      <a:schemeClr val="tx1"/>
                    </a:solidFill>
                    <a:cs typeface="+mn-ea"/>
                    <a:sym typeface="+mn-lt"/>
                  </a:rPr>
                  <a:t>—</a:t>
                </a:r>
                <a:r>
                  <a:rPr lang="zh-CN" altLang="en-US" dirty="0">
                    <a:solidFill>
                      <a:schemeClr val="tx1"/>
                    </a:solidFill>
                    <a:cs typeface="+mn-ea"/>
                    <a:sym typeface="+mn-lt"/>
                  </a:rPr>
                  <a:t>方便后期使用</a:t>
                </a:r>
                <a:endParaRPr lang="en-US" altLang="zh-CN" dirty="0">
                  <a:solidFill>
                    <a:schemeClr val="tx1"/>
                  </a:solidFill>
                  <a:cs typeface="+mn-ea"/>
                  <a:sym typeface="+mn-lt"/>
                </a:endParaRPr>
              </a:p>
              <a:p>
                <a:pPr lvl="0" algn="ctr"/>
                <a:endParaRPr lang="en-US" altLang="zh-CN" dirty="0">
                  <a:solidFill>
                    <a:schemeClr val="tx1"/>
                  </a:solidFill>
                  <a:cs typeface="+mn-ea"/>
                  <a:sym typeface="+mn-lt"/>
                </a:endParaRPr>
              </a:p>
              <a:p>
                <a:pPr lvl="0" algn="ctr"/>
                <a:r>
                  <a:rPr lang="zh-CN" altLang="en-US" dirty="0">
                    <a:solidFill>
                      <a:schemeClr val="tx1"/>
                    </a:solidFill>
                    <a:cs typeface="+mn-ea"/>
                    <a:sym typeface="+mn-lt"/>
                  </a:rPr>
                  <a:t>  增加注释</a:t>
                </a:r>
                <a:r>
                  <a:rPr lang="en-US" altLang="zh-CN" dirty="0">
                    <a:solidFill>
                      <a:schemeClr val="tx1"/>
                    </a:solidFill>
                    <a:cs typeface="+mn-ea"/>
                    <a:sym typeface="+mn-lt"/>
                  </a:rPr>
                  <a:t>—</a:t>
                </a:r>
                <a:r>
                  <a:rPr lang="zh-CN" altLang="en-US" dirty="0">
                    <a:solidFill>
                      <a:schemeClr val="tx1"/>
                    </a:solidFill>
                    <a:cs typeface="+mn-ea"/>
                    <a:sym typeface="+mn-lt"/>
                  </a:rPr>
                  <a:t>增加代码可读性</a:t>
                </a:r>
                <a:endParaRPr lang="en-US" altLang="zh-CN" dirty="0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F1D50107-6A75-436A-9319-1C7D8AFCFB88}"/>
                </a:ext>
              </a:extLst>
            </p:cNvPr>
            <p:cNvSpPr/>
            <p:nvPr/>
          </p:nvSpPr>
          <p:spPr bwMode="auto">
            <a:xfrm>
              <a:off x="8759402" y="1384930"/>
              <a:ext cx="554182" cy="420968"/>
            </a:xfrm>
            <a:custGeom>
              <a:avLst/>
              <a:gdLst>
                <a:gd name="T0" fmla="*/ 2664 w 2711"/>
                <a:gd name="T1" fmla="*/ 1581 h 2062"/>
                <a:gd name="T2" fmla="*/ 909 w 2711"/>
                <a:gd name="T3" fmla="*/ 1581 h 2062"/>
                <a:gd name="T4" fmla="*/ 861 w 2711"/>
                <a:gd name="T5" fmla="*/ 1534 h 2062"/>
                <a:gd name="T6" fmla="*/ 861 w 2711"/>
                <a:gd name="T7" fmla="*/ 434 h 2062"/>
                <a:gd name="T8" fmla="*/ 909 w 2711"/>
                <a:gd name="T9" fmla="*/ 386 h 2062"/>
                <a:gd name="T10" fmla="*/ 2664 w 2711"/>
                <a:gd name="T11" fmla="*/ 386 h 2062"/>
                <a:gd name="T12" fmla="*/ 2711 w 2711"/>
                <a:gd name="T13" fmla="*/ 434 h 2062"/>
                <a:gd name="T14" fmla="*/ 2711 w 2711"/>
                <a:gd name="T15" fmla="*/ 1534 h 2062"/>
                <a:gd name="T16" fmla="*/ 2664 w 2711"/>
                <a:gd name="T17" fmla="*/ 1581 h 2062"/>
                <a:gd name="T18" fmla="*/ 2177 w 2711"/>
                <a:gd name="T19" fmla="*/ 1928 h 2062"/>
                <a:gd name="T20" fmla="*/ 2000 w 2711"/>
                <a:gd name="T21" fmla="*/ 1928 h 2062"/>
                <a:gd name="T22" fmla="*/ 2000 w 2711"/>
                <a:gd name="T23" fmla="*/ 1715 h 2062"/>
                <a:gd name="T24" fmla="*/ 1573 w 2711"/>
                <a:gd name="T25" fmla="*/ 1715 h 2062"/>
                <a:gd name="T26" fmla="*/ 1573 w 2711"/>
                <a:gd name="T27" fmla="*/ 1928 h 2062"/>
                <a:gd name="T28" fmla="*/ 1395 w 2711"/>
                <a:gd name="T29" fmla="*/ 1928 h 2062"/>
                <a:gd name="T30" fmla="*/ 1329 w 2711"/>
                <a:gd name="T31" fmla="*/ 1995 h 2062"/>
                <a:gd name="T32" fmla="*/ 1395 w 2711"/>
                <a:gd name="T33" fmla="*/ 2062 h 2062"/>
                <a:gd name="T34" fmla="*/ 1640 w 2711"/>
                <a:gd name="T35" fmla="*/ 2062 h 2062"/>
                <a:gd name="T36" fmla="*/ 1933 w 2711"/>
                <a:gd name="T37" fmla="*/ 2062 h 2062"/>
                <a:gd name="T38" fmla="*/ 2177 w 2711"/>
                <a:gd name="T39" fmla="*/ 2062 h 2062"/>
                <a:gd name="T40" fmla="*/ 2244 w 2711"/>
                <a:gd name="T41" fmla="*/ 1995 h 2062"/>
                <a:gd name="T42" fmla="*/ 2177 w 2711"/>
                <a:gd name="T43" fmla="*/ 1928 h 2062"/>
                <a:gd name="T44" fmla="*/ 1065 w 2711"/>
                <a:gd name="T45" fmla="*/ 253 h 2062"/>
                <a:gd name="T46" fmla="*/ 909 w 2711"/>
                <a:gd name="T47" fmla="*/ 253 h 2062"/>
                <a:gd name="T48" fmla="*/ 880 w 2711"/>
                <a:gd name="T49" fmla="*/ 255 h 2062"/>
                <a:gd name="T50" fmla="*/ 863 w 2711"/>
                <a:gd name="T51" fmla="*/ 253 h 2062"/>
                <a:gd name="T52" fmla="*/ 201 w 2711"/>
                <a:gd name="T53" fmla="*/ 253 h 2062"/>
                <a:gd name="T54" fmla="*/ 135 w 2711"/>
                <a:gd name="T55" fmla="*/ 320 h 2062"/>
                <a:gd name="T56" fmla="*/ 201 w 2711"/>
                <a:gd name="T57" fmla="*/ 386 h 2062"/>
                <a:gd name="T58" fmla="*/ 735 w 2711"/>
                <a:gd name="T59" fmla="*/ 386 h 2062"/>
                <a:gd name="T60" fmla="*/ 728 w 2711"/>
                <a:gd name="T61" fmla="*/ 434 h 2062"/>
                <a:gd name="T62" fmla="*/ 728 w 2711"/>
                <a:gd name="T63" fmla="*/ 558 h 2062"/>
                <a:gd name="T64" fmla="*/ 201 w 2711"/>
                <a:gd name="T65" fmla="*/ 558 h 2062"/>
                <a:gd name="T66" fmla="*/ 135 w 2711"/>
                <a:gd name="T67" fmla="*/ 624 h 2062"/>
                <a:gd name="T68" fmla="*/ 201 w 2711"/>
                <a:gd name="T69" fmla="*/ 691 h 2062"/>
                <a:gd name="T70" fmla="*/ 728 w 2711"/>
                <a:gd name="T71" fmla="*/ 691 h 2062"/>
                <a:gd name="T72" fmla="*/ 728 w 2711"/>
                <a:gd name="T73" fmla="*/ 863 h 2062"/>
                <a:gd name="T74" fmla="*/ 201 w 2711"/>
                <a:gd name="T75" fmla="*/ 863 h 2062"/>
                <a:gd name="T76" fmla="*/ 135 w 2711"/>
                <a:gd name="T77" fmla="*/ 929 h 2062"/>
                <a:gd name="T78" fmla="*/ 201 w 2711"/>
                <a:gd name="T79" fmla="*/ 996 h 2062"/>
                <a:gd name="T80" fmla="*/ 728 w 2711"/>
                <a:gd name="T81" fmla="*/ 996 h 2062"/>
                <a:gd name="T82" fmla="*/ 728 w 2711"/>
                <a:gd name="T83" fmla="*/ 1534 h 2062"/>
                <a:gd name="T84" fmla="*/ 909 w 2711"/>
                <a:gd name="T85" fmla="*/ 1715 h 2062"/>
                <a:gd name="T86" fmla="*/ 1065 w 2711"/>
                <a:gd name="T87" fmla="*/ 1715 h 2062"/>
                <a:gd name="T88" fmla="*/ 1065 w 2711"/>
                <a:gd name="T89" fmla="*/ 1995 h 2062"/>
                <a:gd name="T90" fmla="*/ 998 w 2711"/>
                <a:gd name="T91" fmla="*/ 2062 h 2062"/>
                <a:gd name="T92" fmla="*/ 67 w 2711"/>
                <a:gd name="T93" fmla="*/ 2062 h 2062"/>
                <a:gd name="T94" fmla="*/ 0 w 2711"/>
                <a:gd name="T95" fmla="*/ 1995 h 2062"/>
                <a:gd name="T96" fmla="*/ 0 w 2711"/>
                <a:gd name="T97" fmla="*/ 66 h 2062"/>
                <a:gd name="T98" fmla="*/ 67 w 2711"/>
                <a:gd name="T99" fmla="*/ 0 h 2062"/>
                <a:gd name="T100" fmla="*/ 998 w 2711"/>
                <a:gd name="T101" fmla="*/ 0 h 2062"/>
                <a:gd name="T102" fmla="*/ 1065 w 2711"/>
                <a:gd name="T103" fmla="*/ 66 h 2062"/>
                <a:gd name="T104" fmla="*/ 1065 w 2711"/>
                <a:gd name="T105" fmla="*/ 253 h 2062"/>
                <a:gd name="T106" fmla="*/ 430 w 2711"/>
                <a:gd name="T107" fmla="*/ 1569 h 2062"/>
                <a:gd name="T108" fmla="*/ 532 w 2711"/>
                <a:gd name="T109" fmla="*/ 1672 h 2062"/>
                <a:gd name="T110" fmla="*/ 635 w 2711"/>
                <a:gd name="T111" fmla="*/ 1569 h 2062"/>
                <a:gd name="T112" fmla="*/ 532 w 2711"/>
                <a:gd name="T113" fmla="*/ 1466 h 2062"/>
                <a:gd name="T114" fmla="*/ 430 w 2711"/>
                <a:gd name="T115" fmla="*/ 1569 h 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711" h="2062">
                  <a:moveTo>
                    <a:pt x="2664" y="1581"/>
                  </a:moveTo>
                  <a:lnTo>
                    <a:pt x="909" y="1581"/>
                  </a:lnTo>
                  <a:cubicBezTo>
                    <a:pt x="883" y="1581"/>
                    <a:pt x="861" y="1560"/>
                    <a:pt x="861" y="1534"/>
                  </a:cubicBezTo>
                  <a:lnTo>
                    <a:pt x="861" y="434"/>
                  </a:lnTo>
                  <a:cubicBezTo>
                    <a:pt x="861" y="407"/>
                    <a:pt x="883" y="386"/>
                    <a:pt x="909" y="386"/>
                  </a:cubicBezTo>
                  <a:lnTo>
                    <a:pt x="2664" y="386"/>
                  </a:lnTo>
                  <a:cubicBezTo>
                    <a:pt x="2690" y="386"/>
                    <a:pt x="2711" y="408"/>
                    <a:pt x="2711" y="434"/>
                  </a:cubicBezTo>
                  <a:lnTo>
                    <a:pt x="2711" y="1534"/>
                  </a:lnTo>
                  <a:cubicBezTo>
                    <a:pt x="2711" y="1560"/>
                    <a:pt x="2690" y="1581"/>
                    <a:pt x="2664" y="1581"/>
                  </a:cubicBezTo>
                  <a:close/>
                  <a:moveTo>
                    <a:pt x="2177" y="1928"/>
                  </a:moveTo>
                  <a:lnTo>
                    <a:pt x="2000" y="1928"/>
                  </a:lnTo>
                  <a:lnTo>
                    <a:pt x="2000" y="1715"/>
                  </a:lnTo>
                  <a:lnTo>
                    <a:pt x="1573" y="1715"/>
                  </a:lnTo>
                  <a:lnTo>
                    <a:pt x="1573" y="1928"/>
                  </a:lnTo>
                  <a:lnTo>
                    <a:pt x="1395" y="1928"/>
                  </a:lnTo>
                  <a:cubicBezTo>
                    <a:pt x="1358" y="1928"/>
                    <a:pt x="1329" y="1958"/>
                    <a:pt x="1329" y="1995"/>
                  </a:cubicBezTo>
                  <a:cubicBezTo>
                    <a:pt x="1329" y="2032"/>
                    <a:pt x="1358" y="2062"/>
                    <a:pt x="1395" y="2062"/>
                  </a:cubicBezTo>
                  <a:lnTo>
                    <a:pt x="1640" y="2062"/>
                  </a:lnTo>
                  <a:lnTo>
                    <a:pt x="1933" y="2062"/>
                  </a:lnTo>
                  <a:lnTo>
                    <a:pt x="2177" y="2062"/>
                  </a:lnTo>
                  <a:cubicBezTo>
                    <a:pt x="2214" y="2062"/>
                    <a:pt x="2244" y="2032"/>
                    <a:pt x="2244" y="1995"/>
                  </a:cubicBezTo>
                  <a:cubicBezTo>
                    <a:pt x="2244" y="1958"/>
                    <a:pt x="2214" y="1928"/>
                    <a:pt x="2177" y="1928"/>
                  </a:cubicBezTo>
                  <a:close/>
                  <a:moveTo>
                    <a:pt x="1065" y="253"/>
                  </a:moveTo>
                  <a:lnTo>
                    <a:pt x="909" y="253"/>
                  </a:lnTo>
                  <a:cubicBezTo>
                    <a:pt x="899" y="253"/>
                    <a:pt x="890" y="254"/>
                    <a:pt x="880" y="255"/>
                  </a:cubicBezTo>
                  <a:cubicBezTo>
                    <a:pt x="875" y="254"/>
                    <a:pt x="869" y="253"/>
                    <a:pt x="863" y="253"/>
                  </a:cubicBezTo>
                  <a:lnTo>
                    <a:pt x="201" y="253"/>
                  </a:lnTo>
                  <a:cubicBezTo>
                    <a:pt x="164" y="253"/>
                    <a:pt x="135" y="283"/>
                    <a:pt x="135" y="320"/>
                  </a:cubicBezTo>
                  <a:cubicBezTo>
                    <a:pt x="135" y="356"/>
                    <a:pt x="164" y="386"/>
                    <a:pt x="201" y="386"/>
                  </a:cubicBezTo>
                  <a:lnTo>
                    <a:pt x="735" y="386"/>
                  </a:lnTo>
                  <a:cubicBezTo>
                    <a:pt x="730" y="401"/>
                    <a:pt x="728" y="417"/>
                    <a:pt x="728" y="434"/>
                  </a:cubicBezTo>
                  <a:lnTo>
                    <a:pt x="728" y="558"/>
                  </a:lnTo>
                  <a:lnTo>
                    <a:pt x="201" y="558"/>
                  </a:lnTo>
                  <a:cubicBezTo>
                    <a:pt x="164" y="558"/>
                    <a:pt x="135" y="588"/>
                    <a:pt x="135" y="624"/>
                  </a:cubicBezTo>
                  <a:cubicBezTo>
                    <a:pt x="135" y="661"/>
                    <a:pt x="164" y="691"/>
                    <a:pt x="201" y="691"/>
                  </a:cubicBezTo>
                  <a:lnTo>
                    <a:pt x="728" y="691"/>
                  </a:lnTo>
                  <a:lnTo>
                    <a:pt x="728" y="863"/>
                  </a:lnTo>
                  <a:lnTo>
                    <a:pt x="201" y="863"/>
                  </a:lnTo>
                  <a:cubicBezTo>
                    <a:pt x="164" y="863"/>
                    <a:pt x="135" y="893"/>
                    <a:pt x="135" y="929"/>
                  </a:cubicBezTo>
                  <a:cubicBezTo>
                    <a:pt x="135" y="966"/>
                    <a:pt x="164" y="996"/>
                    <a:pt x="201" y="996"/>
                  </a:cubicBezTo>
                  <a:lnTo>
                    <a:pt x="728" y="996"/>
                  </a:lnTo>
                  <a:lnTo>
                    <a:pt x="728" y="1534"/>
                  </a:lnTo>
                  <a:cubicBezTo>
                    <a:pt x="728" y="1633"/>
                    <a:pt x="809" y="1715"/>
                    <a:pt x="909" y="1715"/>
                  </a:cubicBezTo>
                  <a:lnTo>
                    <a:pt x="1065" y="1715"/>
                  </a:lnTo>
                  <a:lnTo>
                    <a:pt x="1065" y="1995"/>
                  </a:lnTo>
                  <a:cubicBezTo>
                    <a:pt x="1065" y="2032"/>
                    <a:pt x="1035" y="2062"/>
                    <a:pt x="998" y="2062"/>
                  </a:cubicBezTo>
                  <a:lnTo>
                    <a:pt x="67" y="2062"/>
                  </a:lnTo>
                  <a:cubicBezTo>
                    <a:pt x="30" y="2062"/>
                    <a:pt x="0" y="2032"/>
                    <a:pt x="0" y="1995"/>
                  </a:cubicBezTo>
                  <a:lnTo>
                    <a:pt x="0" y="66"/>
                  </a:lnTo>
                  <a:cubicBezTo>
                    <a:pt x="0" y="29"/>
                    <a:pt x="30" y="0"/>
                    <a:pt x="67" y="0"/>
                  </a:cubicBezTo>
                  <a:lnTo>
                    <a:pt x="998" y="0"/>
                  </a:lnTo>
                  <a:cubicBezTo>
                    <a:pt x="1035" y="0"/>
                    <a:pt x="1065" y="29"/>
                    <a:pt x="1065" y="66"/>
                  </a:cubicBezTo>
                  <a:lnTo>
                    <a:pt x="1065" y="253"/>
                  </a:lnTo>
                  <a:close/>
                  <a:moveTo>
                    <a:pt x="430" y="1569"/>
                  </a:moveTo>
                  <a:cubicBezTo>
                    <a:pt x="430" y="1626"/>
                    <a:pt x="476" y="1672"/>
                    <a:pt x="532" y="1672"/>
                  </a:cubicBezTo>
                  <a:cubicBezTo>
                    <a:pt x="589" y="1672"/>
                    <a:pt x="635" y="1626"/>
                    <a:pt x="635" y="1569"/>
                  </a:cubicBezTo>
                  <a:cubicBezTo>
                    <a:pt x="635" y="1512"/>
                    <a:pt x="589" y="1466"/>
                    <a:pt x="532" y="1466"/>
                  </a:cubicBezTo>
                  <a:cubicBezTo>
                    <a:pt x="476" y="1466"/>
                    <a:pt x="430" y="1512"/>
                    <a:pt x="430" y="15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>
                <a:cs typeface="+mn-ea"/>
                <a:sym typeface="+mn-lt"/>
              </a:endParaRPr>
            </a:p>
          </p:txBody>
        </p:sp>
        <p:grpSp>
          <p:nvGrpSpPr>
            <p:cNvPr id="15" name="组合 14">
              <a:extLst>
                <a:ext uri="{FF2B5EF4-FFF2-40B4-BE49-F238E27FC236}">
                  <a16:creationId xmlns:a16="http://schemas.microsoft.com/office/drawing/2014/main" id="{326D73AF-2A93-4B80-B656-A0F2F2F4E31E}"/>
                </a:ext>
              </a:extLst>
            </p:cNvPr>
            <p:cNvGrpSpPr/>
            <p:nvPr/>
          </p:nvGrpSpPr>
          <p:grpSpPr>
            <a:xfrm>
              <a:off x="7873061" y="1951014"/>
              <a:ext cx="2399745" cy="1036728"/>
              <a:chOff x="-16490" y="2293824"/>
              <a:chExt cx="1818508" cy="1036728"/>
            </a:xfrm>
          </p:grpSpPr>
          <p:sp>
            <p:nvSpPr>
              <p:cNvPr id="18" name="矩形 17">
                <a:extLst>
                  <a:ext uri="{FF2B5EF4-FFF2-40B4-BE49-F238E27FC236}">
                    <a16:creationId xmlns:a16="http://schemas.microsoft.com/office/drawing/2014/main" id="{BCA818E7-C8FB-4FB1-A9FF-42B1F77393DC}"/>
                  </a:ext>
                </a:extLst>
              </p:cNvPr>
              <p:cNvSpPr/>
              <p:nvPr/>
            </p:nvSpPr>
            <p:spPr bwMode="auto">
              <a:xfrm>
                <a:off x="-16490" y="2293824"/>
                <a:ext cx="1763279" cy="392113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400"/>
                <a:r>
                  <a:rPr lang="en-US" altLang="zh-CN" sz="1600" b="1" kern="0" dirty="0">
                    <a:cs typeface="+mn-ea"/>
                    <a:sym typeface="+mn-lt"/>
                  </a:rPr>
                  <a:t>Bug</a:t>
                </a:r>
                <a:r>
                  <a:rPr lang="zh-CN" altLang="en-US" sz="1600" b="1" kern="0" dirty="0">
                    <a:cs typeface="+mn-ea"/>
                    <a:sym typeface="+mn-lt"/>
                  </a:rPr>
                  <a:t>修复</a:t>
                </a:r>
              </a:p>
            </p:txBody>
          </p:sp>
          <p:sp>
            <p:nvSpPr>
              <p:cNvPr id="19" name="矩形 18">
                <a:extLst>
                  <a:ext uri="{FF2B5EF4-FFF2-40B4-BE49-F238E27FC236}">
                    <a16:creationId xmlns:a16="http://schemas.microsoft.com/office/drawing/2014/main" id="{E14C6946-4445-4C98-A1C2-8DADCF5CF84A}"/>
                  </a:ext>
                </a:extLst>
              </p:cNvPr>
              <p:cNvSpPr/>
              <p:nvPr/>
            </p:nvSpPr>
            <p:spPr>
              <a:xfrm>
                <a:off x="38739" y="2656825"/>
                <a:ext cx="1763279" cy="562249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/>
                <a:endParaRPr lang="en-US" altLang="zh-CN" sz="1000" dirty="0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0" name="矩形 19">
                <a:extLst>
                  <a:ext uri="{FF2B5EF4-FFF2-40B4-BE49-F238E27FC236}">
                    <a16:creationId xmlns:a16="http://schemas.microsoft.com/office/drawing/2014/main" id="{85CA11FB-1319-4051-ACB6-F98DA2357A88}"/>
                  </a:ext>
                </a:extLst>
              </p:cNvPr>
              <p:cNvSpPr/>
              <p:nvPr/>
            </p:nvSpPr>
            <p:spPr>
              <a:xfrm>
                <a:off x="-16490" y="2685937"/>
                <a:ext cx="1763279" cy="644615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/>
                <a:r>
                  <a:rPr lang="en-US" altLang="zh-CN" sz="1600" dirty="0" err="1">
                    <a:solidFill>
                      <a:schemeClr val="tx1"/>
                    </a:solidFill>
                    <a:cs typeface="+mn-ea"/>
                    <a:sym typeface="+mn-lt"/>
                  </a:rPr>
                  <a:t>MultipartFile</a:t>
                </a:r>
                <a:r>
                  <a:rPr lang="en-US" altLang="zh-CN" sz="1600" dirty="0">
                    <a:solidFill>
                      <a:schemeClr val="tx1"/>
                    </a:solidFill>
                    <a:cs typeface="+mn-ea"/>
                    <a:sym typeface="+mn-lt"/>
                  </a:rPr>
                  <a:t> </a:t>
                </a:r>
                <a:r>
                  <a:rPr lang="zh-CN" altLang="en-US" sz="1600" dirty="0">
                    <a:solidFill>
                      <a:schemeClr val="tx1"/>
                    </a:solidFill>
                    <a:cs typeface="+mn-ea"/>
                    <a:sym typeface="+mn-lt"/>
                  </a:rPr>
                  <a:t>格式</a:t>
                </a:r>
                <a:r>
                  <a:rPr lang="en-US" altLang="zh-CN" sz="1600" dirty="0">
                    <a:solidFill>
                      <a:schemeClr val="tx1"/>
                    </a:solidFill>
                    <a:cs typeface="+mn-ea"/>
                    <a:sym typeface="+mn-lt"/>
                  </a:rPr>
                  <a:t>Open-</a:t>
                </a:r>
                <a:r>
                  <a:rPr lang="en-US" altLang="zh-CN" sz="1600" dirty="0" err="1">
                    <a:solidFill>
                      <a:schemeClr val="tx1"/>
                    </a:solidFill>
                    <a:cs typeface="+mn-ea"/>
                    <a:sym typeface="+mn-lt"/>
                  </a:rPr>
                  <a:t>Fegin</a:t>
                </a:r>
                <a:r>
                  <a:rPr lang="zh-CN" altLang="en-US" sz="1600" dirty="0">
                    <a:solidFill>
                      <a:schemeClr val="tx1"/>
                    </a:solidFill>
                    <a:cs typeface="+mn-ea"/>
                    <a:sym typeface="+mn-lt"/>
                  </a:rPr>
                  <a:t>传输时需要用</a:t>
                </a:r>
                <a:r>
                  <a:rPr lang="en-US" altLang="zh-CN" sz="1600" dirty="0">
                    <a:solidFill>
                      <a:schemeClr val="tx1"/>
                    </a:solidFill>
                    <a:cs typeface="+mn-ea"/>
                    <a:sym typeface="+mn-lt"/>
                  </a:rPr>
                  <a:t>@RequestPart </a:t>
                </a:r>
                <a:r>
                  <a:rPr lang="zh-CN" altLang="en-US" sz="1600" dirty="0">
                    <a:solidFill>
                      <a:schemeClr val="tx1"/>
                    </a:solidFill>
                    <a:cs typeface="+mn-ea"/>
                    <a:sym typeface="+mn-lt"/>
                  </a:rPr>
                  <a:t>接收</a:t>
                </a:r>
                <a:endParaRPr lang="en-US" altLang="zh-CN" sz="1600" dirty="0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</p:grpSp>
        <p:cxnSp>
          <p:nvCxnSpPr>
            <p:cNvPr id="16" name="直接连接符 15">
              <a:extLst>
                <a:ext uri="{FF2B5EF4-FFF2-40B4-BE49-F238E27FC236}">
                  <a16:creationId xmlns:a16="http://schemas.microsoft.com/office/drawing/2014/main" id="{84D5C6AC-5D86-4B58-A48E-0745CA7621DB}"/>
                </a:ext>
              </a:extLst>
            </p:cNvPr>
            <p:cNvCxnSpPr/>
            <p:nvPr/>
          </p:nvCxnSpPr>
          <p:spPr>
            <a:xfrm>
              <a:off x="7315201" y="2101790"/>
              <a:ext cx="0" cy="1386716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矩形 29">
            <a:extLst>
              <a:ext uri="{FF2B5EF4-FFF2-40B4-BE49-F238E27FC236}">
                <a16:creationId xmlns:a16="http://schemas.microsoft.com/office/drawing/2014/main" id="{2036E645-EFC6-2B60-3961-4AD868D8CF78}"/>
              </a:ext>
            </a:extLst>
          </p:cNvPr>
          <p:cNvSpPr/>
          <p:nvPr/>
        </p:nvSpPr>
        <p:spPr>
          <a:xfrm>
            <a:off x="801295" y="3020005"/>
            <a:ext cx="2121198" cy="69226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/>
            <a:endParaRPr lang="en-US" altLang="zh-CN" sz="10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188513DB-FCC5-833A-F8EB-1EF179DC5174}"/>
              </a:ext>
            </a:extLst>
          </p:cNvPr>
          <p:cNvSpPr/>
          <p:nvPr/>
        </p:nvSpPr>
        <p:spPr>
          <a:xfrm>
            <a:off x="728414" y="3048831"/>
            <a:ext cx="2326864" cy="248416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/>
            <a:r>
              <a:rPr lang="zh-CN" altLang="en-US" sz="2000" dirty="0">
                <a:solidFill>
                  <a:schemeClr val="tx1"/>
                </a:solidFill>
                <a:cs typeface="+mn-ea"/>
                <a:sym typeface="+mn-lt"/>
              </a:rPr>
              <a:t>跳转至其他的服务</a:t>
            </a:r>
            <a:endParaRPr lang="en-US" altLang="zh-CN" sz="2000" dirty="0">
              <a:solidFill>
                <a:schemeClr val="tx1"/>
              </a:solidFill>
              <a:cs typeface="+mn-ea"/>
              <a:sym typeface="+mn-lt"/>
            </a:endParaRPr>
          </a:p>
          <a:p>
            <a:pPr lvl="0" algn="ctr"/>
            <a:b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</a:br>
            <a:r>
              <a:rPr lang="zh-CN" altLang="en-US" sz="1400" dirty="0">
                <a:solidFill>
                  <a:schemeClr val="tx1"/>
                </a:solidFill>
                <a:cs typeface="+mn-ea"/>
                <a:sym typeface="+mn-lt"/>
              </a:rPr>
              <a:t>负载均衡问题</a:t>
            </a:r>
            <a:endParaRPr lang="en-US" altLang="zh-CN" sz="1400" dirty="0">
              <a:solidFill>
                <a:schemeClr val="tx1"/>
              </a:solidFill>
              <a:cs typeface="+mn-ea"/>
              <a:sym typeface="+mn-lt"/>
            </a:endParaRPr>
          </a:p>
          <a:p>
            <a:pPr lvl="0" algn="ctr"/>
            <a:endParaRPr lang="en-US" altLang="zh-CN" sz="1200" dirty="0">
              <a:solidFill>
                <a:schemeClr val="tx1"/>
              </a:solidFill>
              <a:cs typeface="+mn-ea"/>
              <a:sym typeface="+mn-lt"/>
            </a:endParaRPr>
          </a:p>
          <a:p>
            <a:pPr lvl="0" algn="ctr"/>
            <a:endParaRPr lang="en-US" altLang="zh-CN" sz="1200" dirty="0">
              <a:solidFill>
                <a:schemeClr val="tx1"/>
              </a:solidFill>
              <a:cs typeface="+mn-ea"/>
              <a:sym typeface="+mn-lt"/>
            </a:endParaRPr>
          </a:p>
          <a:p>
            <a:pPr lvl="0" algn="ctr"/>
            <a:endParaRPr lang="en-US" altLang="zh-CN" sz="1000" dirty="0">
              <a:solidFill>
                <a:schemeClr val="tx1"/>
              </a:solidFill>
              <a:cs typeface="+mn-ea"/>
              <a:sym typeface="+mn-lt"/>
            </a:endParaRPr>
          </a:p>
          <a:p>
            <a:pPr lvl="0" algn="ctr"/>
            <a:r>
              <a:rPr lang="zh-CN" altLang="en-US" sz="2000" dirty="0">
                <a:solidFill>
                  <a:schemeClr val="tx1"/>
                </a:solidFill>
                <a:cs typeface="+mn-ea"/>
                <a:sym typeface="+mn-lt"/>
              </a:rPr>
              <a:t>无法批量执行</a:t>
            </a:r>
            <a:r>
              <a:rPr lang="en-US" altLang="zh-CN" sz="2000" dirty="0" err="1">
                <a:solidFill>
                  <a:schemeClr val="tx1"/>
                </a:solidFill>
                <a:cs typeface="+mn-ea"/>
                <a:sym typeface="+mn-lt"/>
              </a:rPr>
              <a:t>Sql</a:t>
            </a:r>
            <a:endParaRPr lang="en-US" altLang="zh-CN" sz="2000" dirty="0">
              <a:solidFill>
                <a:schemeClr val="tx1"/>
              </a:solidFill>
              <a:cs typeface="+mn-ea"/>
              <a:sym typeface="+mn-lt"/>
            </a:endParaRPr>
          </a:p>
          <a:p>
            <a:pPr lvl="0" algn="ctr"/>
            <a:endParaRPr lang="en-US" altLang="zh-CN" sz="1600" dirty="0">
              <a:solidFill>
                <a:schemeClr val="tx1"/>
              </a:solidFill>
              <a:cs typeface="+mn-ea"/>
              <a:sym typeface="+mn-lt"/>
            </a:endParaRPr>
          </a:p>
          <a:p>
            <a:pPr lvl="0" algn="ctr"/>
            <a:r>
              <a:rPr lang="zh-CN" altLang="en-US" sz="1600" dirty="0">
                <a:solidFill>
                  <a:schemeClr val="tx1"/>
                </a:solidFill>
                <a:cs typeface="+mn-ea"/>
                <a:sym typeface="+mn-lt"/>
              </a:rPr>
              <a:t>逐条运行</a:t>
            </a:r>
            <a:endParaRPr lang="en-US" altLang="zh-CN" sz="1600" dirty="0">
              <a:solidFill>
                <a:schemeClr val="tx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393122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05F5FF4-BD14-4DEB-B4A3-6001B197DD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负责开发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7304427-1425-4E1F-B51E-8FA443C0ED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5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E2969B56-B164-4155-A77E-645678A9742A}"/>
              </a:ext>
            </a:extLst>
          </p:cNvPr>
          <p:cNvGrpSpPr>
            <a:grpSpLocks noChangeAspect="1"/>
          </p:cNvGrpSpPr>
          <p:nvPr/>
        </p:nvGrpSpPr>
        <p:grpSpPr>
          <a:xfrm>
            <a:off x="669924" y="1220240"/>
            <a:ext cx="10776642" cy="4417519"/>
            <a:chOff x="743846" y="1175913"/>
            <a:chExt cx="10776642" cy="4417519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94EF1E30-559F-4597-928E-AE344C2A0505}"/>
                </a:ext>
              </a:extLst>
            </p:cNvPr>
            <p:cNvGrpSpPr/>
            <p:nvPr/>
          </p:nvGrpSpPr>
          <p:grpSpPr>
            <a:xfrm>
              <a:off x="743846" y="2342642"/>
              <a:ext cx="4888724" cy="2453542"/>
              <a:chOff x="3651638" y="2342642"/>
              <a:chExt cx="4888724" cy="2453542"/>
            </a:xfrm>
          </p:grpSpPr>
          <p:grpSp>
            <p:nvGrpSpPr>
              <p:cNvPr id="38" name="组合 37">
                <a:extLst>
                  <a:ext uri="{FF2B5EF4-FFF2-40B4-BE49-F238E27FC236}">
                    <a16:creationId xmlns:a16="http://schemas.microsoft.com/office/drawing/2014/main" id="{A92955DE-BCD7-4D61-865A-56C553CB860C}"/>
                  </a:ext>
                </a:extLst>
              </p:cNvPr>
              <p:cNvGrpSpPr/>
              <p:nvPr/>
            </p:nvGrpSpPr>
            <p:grpSpPr>
              <a:xfrm>
                <a:off x="3651638" y="2342642"/>
                <a:ext cx="4888724" cy="2453542"/>
                <a:chOff x="3651638" y="2342642"/>
                <a:chExt cx="4888724" cy="2453542"/>
              </a:xfrm>
            </p:grpSpPr>
            <p:sp>
              <p:nvSpPr>
                <p:cNvPr id="41" name="任意多边形: 形状 40">
                  <a:extLst>
                    <a:ext uri="{FF2B5EF4-FFF2-40B4-BE49-F238E27FC236}">
                      <a16:creationId xmlns:a16="http://schemas.microsoft.com/office/drawing/2014/main" id="{5510AE46-8C41-4019-8871-3AEE88E12E27}"/>
                    </a:ext>
                  </a:extLst>
                </p:cNvPr>
                <p:cNvSpPr/>
                <p:nvPr/>
              </p:nvSpPr>
              <p:spPr bwMode="auto">
                <a:xfrm>
                  <a:off x="5335148" y="2342642"/>
                  <a:ext cx="1576807" cy="1226771"/>
                </a:xfrm>
                <a:custGeom>
                  <a:avLst/>
                  <a:gdLst>
                    <a:gd name="T0" fmla="*/ 0 w 955"/>
                    <a:gd name="T1" fmla="*/ 215 h 743"/>
                    <a:gd name="T2" fmla="*/ 215 w 955"/>
                    <a:gd name="T3" fmla="*/ 0 h 743"/>
                    <a:gd name="T4" fmla="*/ 955 w 955"/>
                    <a:gd name="T5" fmla="*/ 743 h 743"/>
                    <a:gd name="T6" fmla="*/ 526 w 955"/>
                    <a:gd name="T7" fmla="*/ 743 h 743"/>
                    <a:gd name="T8" fmla="*/ 0 w 955"/>
                    <a:gd name="T9" fmla="*/ 215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5" h="743">
                      <a:moveTo>
                        <a:pt x="0" y="215"/>
                      </a:moveTo>
                      <a:lnTo>
                        <a:pt x="215" y="0"/>
                      </a:lnTo>
                      <a:lnTo>
                        <a:pt x="955" y="743"/>
                      </a:lnTo>
                      <a:lnTo>
                        <a:pt x="526" y="743"/>
                      </a:lnTo>
                      <a:lnTo>
                        <a:pt x="0" y="215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/>
                  <a:endParaRPr sz="1600">
                    <a:cs typeface="+mn-ea"/>
                    <a:sym typeface="+mn-lt"/>
                  </a:endParaRPr>
                </a:p>
              </p:txBody>
            </p:sp>
            <p:sp>
              <p:nvSpPr>
                <p:cNvPr id="42" name="任意多边形: 形状 41">
                  <a:extLst>
                    <a:ext uri="{FF2B5EF4-FFF2-40B4-BE49-F238E27FC236}">
                      <a16:creationId xmlns:a16="http://schemas.microsoft.com/office/drawing/2014/main" id="{2DFD6861-4F60-4936-B9B8-D6C99F3EBB3A}"/>
                    </a:ext>
                  </a:extLst>
                </p:cNvPr>
                <p:cNvSpPr/>
                <p:nvPr/>
              </p:nvSpPr>
              <p:spPr bwMode="auto">
                <a:xfrm flipV="1">
                  <a:off x="5335148" y="3569413"/>
                  <a:ext cx="1576807" cy="1226771"/>
                </a:xfrm>
                <a:custGeom>
                  <a:avLst/>
                  <a:gdLst>
                    <a:gd name="T0" fmla="*/ 0 w 955"/>
                    <a:gd name="T1" fmla="*/ 215 h 743"/>
                    <a:gd name="T2" fmla="*/ 215 w 955"/>
                    <a:gd name="T3" fmla="*/ 0 h 743"/>
                    <a:gd name="T4" fmla="*/ 955 w 955"/>
                    <a:gd name="T5" fmla="*/ 743 h 743"/>
                    <a:gd name="T6" fmla="*/ 526 w 955"/>
                    <a:gd name="T7" fmla="*/ 743 h 743"/>
                    <a:gd name="T8" fmla="*/ 0 w 955"/>
                    <a:gd name="T9" fmla="*/ 215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5" h="743">
                      <a:moveTo>
                        <a:pt x="0" y="215"/>
                      </a:moveTo>
                      <a:lnTo>
                        <a:pt x="215" y="0"/>
                      </a:lnTo>
                      <a:lnTo>
                        <a:pt x="955" y="743"/>
                      </a:lnTo>
                      <a:lnTo>
                        <a:pt x="526" y="743"/>
                      </a:lnTo>
                      <a:lnTo>
                        <a:pt x="0" y="21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/>
                  <a:endParaRPr sz="1600">
                    <a:cs typeface="+mn-ea"/>
                    <a:sym typeface="+mn-lt"/>
                  </a:endParaRPr>
                </a:p>
              </p:txBody>
            </p:sp>
            <p:sp>
              <p:nvSpPr>
                <p:cNvPr id="43" name="菱形 42">
                  <a:extLst>
                    <a:ext uri="{FF2B5EF4-FFF2-40B4-BE49-F238E27FC236}">
                      <a16:creationId xmlns:a16="http://schemas.microsoft.com/office/drawing/2014/main" id="{AE33BCDE-22B8-4BEF-AA30-85C634A6A984}"/>
                    </a:ext>
                  </a:extLst>
                </p:cNvPr>
                <p:cNvSpPr/>
                <p:nvPr/>
              </p:nvSpPr>
              <p:spPr>
                <a:xfrm>
                  <a:off x="3651638" y="2342642"/>
                  <a:ext cx="2446113" cy="2453542"/>
                </a:xfrm>
                <a:prstGeom prst="diamond">
                  <a:avLst/>
                </a:prstGeom>
                <a:solidFill>
                  <a:schemeClr val="bg1"/>
                </a:solidFill>
                <a:ln w="38100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 sz="160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44" name="任意多边形: 形状 43">
                  <a:extLst>
                    <a:ext uri="{FF2B5EF4-FFF2-40B4-BE49-F238E27FC236}">
                      <a16:creationId xmlns:a16="http://schemas.microsoft.com/office/drawing/2014/main" id="{1EE4AD42-80DE-48CF-92CC-4E16CB644F60}"/>
                    </a:ext>
                  </a:extLst>
                </p:cNvPr>
                <p:cNvSpPr/>
                <p:nvPr/>
              </p:nvSpPr>
              <p:spPr bwMode="auto">
                <a:xfrm>
                  <a:off x="6149352" y="2342642"/>
                  <a:ext cx="1576807" cy="1226771"/>
                </a:xfrm>
                <a:custGeom>
                  <a:avLst/>
                  <a:gdLst>
                    <a:gd name="T0" fmla="*/ 0 w 955"/>
                    <a:gd name="T1" fmla="*/ 215 h 743"/>
                    <a:gd name="T2" fmla="*/ 215 w 955"/>
                    <a:gd name="T3" fmla="*/ 0 h 743"/>
                    <a:gd name="T4" fmla="*/ 955 w 955"/>
                    <a:gd name="T5" fmla="*/ 743 h 743"/>
                    <a:gd name="T6" fmla="*/ 526 w 955"/>
                    <a:gd name="T7" fmla="*/ 743 h 743"/>
                    <a:gd name="T8" fmla="*/ 0 w 955"/>
                    <a:gd name="T9" fmla="*/ 215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5" h="743">
                      <a:moveTo>
                        <a:pt x="0" y="215"/>
                      </a:moveTo>
                      <a:lnTo>
                        <a:pt x="215" y="0"/>
                      </a:lnTo>
                      <a:lnTo>
                        <a:pt x="955" y="743"/>
                      </a:lnTo>
                      <a:lnTo>
                        <a:pt x="526" y="743"/>
                      </a:lnTo>
                      <a:lnTo>
                        <a:pt x="0" y="215"/>
                      </a:lnTo>
                      <a:close/>
                    </a:path>
                  </a:pathLst>
                </a:custGeom>
                <a:solidFill>
                  <a:schemeClr val="accent1">
                    <a:alpha val="80000"/>
                  </a:schemeClr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/>
                  <a:endParaRPr sz="1600">
                    <a:cs typeface="+mn-ea"/>
                    <a:sym typeface="+mn-lt"/>
                  </a:endParaRPr>
                </a:p>
              </p:txBody>
            </p:sp>
            <p:sp>
              <p:nvSpPr>
                <p:cNvPr id="45" name="任意多边形: 形状 44">
                  <a:extLst>
                    <a:ext uri="{FF2B5EF4-FFF2-40B4-BE49-F238E27FC236}">
                      <a16:creationId xmlns:a16="http://schemas.microsoft.com/office/drawing/2014/main" id="{65EF3504-72E1-44F3-AF28-32FC03920D5E}"/>
                    </a:ext>
                  </a:extLst>
                </p:cNvPr>
                <p:cNvSpPr/>
                <p:nvPr/>
              </p:nvSpPr>
              <p:spPr bwMode="auto">
                <a:xfrm flipV="1">
                  <a:off x="6149352" y="3569413"/>
                  <a:ext cx="1576807" cy="1226771"/>
                </a:xfrm>
                <a:custGeom>
                  <a:avLst/>
                  <a:gdLst>
                    <a:gd name="T0" fmla="*/ 0 w 955"/>
                    <a:gd name="T1" fmla="*/ 215 h 743"/>
                    <a:gd name="T2" fmla="*/ 215 w 955"/>
                    <a:gd name="T3" fmla="*/ 0 h 743"/>
                    <a:gd name="T4" fmla="*/ 955 w 955"/>
                    <a:gd name="T5" fmla="*/ 743 h 743"/>
                    <a:gd name="T6" fmla="*/ 526 w 955"/>
                    <a:gd name="T7" fmla="*/ 743 h 743"/>
                    <a:gd name="T8" fmla="*/ 0 w 955"/>
                    <a:gd name="T9" fmla="*/ 215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5" h="743">
                      <a:moveTo>
                        <a:pt x="0" y="215"/>
                      </a:moveTo>
                      <a:lnTo>
                        <a:pt x="215" y="0"/>
                      </a:lnTo>
                      <a:lnTo>
                        <a:pt x="955" y="743"/>
                      </a:lnTo>
                      <a:lnTo>
                        <a:pt x="526" y="743"/>
                      </a:lnTo>
                      <a:lnTo>
                        <a:pt x="0" y="21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  <a:alpha val="80000"/>
                  </a:schemeClr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/>
                  <a:endParaRPr sz="1600">
                    <a:cs typeface="+mn-ea"/>
                    <a:sym typeface="+mn-lt"/>
                  </a:endParaRPr>
                </a:p>
              </p:txBody>
            </p:sp>
            <p:sp>
              <p:nvSpPr>
                <p:cNvPr id="46" name="任意多边形: 形状 45">
                  <a:extLst>
                    <a:ext uri="{FF2B5EF4-FFF2-40B4-BE49-F238E27FC236}">
                      <a16:creationId xmlns:a16="http://schemas.microsoft.com/office/drawing/2014/main" id="{36E6E490-08B9-4CED-B921-9D3925BDC154}"/>
                    </a:ext>
                  </a:extLst>
                </p:cNvPr>
                <p:cNvSpPr/>
                <p:nvPr/>
              </p:nvSpPr>
              <p:spPr bwMode="auto">
                <a:xfrm>
                  <a:off x="6963555" y="2342642"/>
                  <a:ext cx="1576807" cy="1226771"/>
                </a:xfrm>
                <a:custGeom>
                  <a:avLst/>
                  <a:gdLst>
                    <a:gd name="T0" fmla="*/ 0 w 955"/>
                    <a:gd name="T1" fmla="*/ 215 h 743"/>
                    <a:gd name="T2" fmla="*/ 215 w 955"/>
                    <a:gd name="T3" fmla="*/ 0 h 743"/>
                    <a:gd name="T4" fmla="*/ 955 w 955"/>
                    <a:gd name="T5" fmla="*/ 743 h 743"/>
                    <a:gd name="T6" fmla="*/ 526 w 955"/>
                    <a:gd name="T7" fmla="*/ 743 h 743"/>
                    <a:gd name="T8" fmla="*/ 0 w 955"/>
                    <a:gd name="T9" fmla="*/ 215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5" h="743">
                      <a:moveTo>
                        <a:pt x="0" y="215"/>
                      </a:moveTo>
                      <a:lnTo>
                        <a:pt x="215" y="0"/>
                      </a:lnTo>
                      <a:lnTo>
                        <a:pt x="955" y="743"/>
                      </a:lnTo>
                      <a:lnTo>
                        <a:pt x="526" y="743"/>
                      </a:lnTo>
                      <a:lnTo>
                        <a:pt x="0" y="215"/>
                      </a:lnTo>
                      <a:close/>
                    </a:path>
                  </a:pathLst>
                </a:custGeom>
                <a:solidFill>
                  <a:schemeClr val="accent1">
                    <a:alpha val="40000"/>
                  </a:schemeClr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/>
                  <a:endParaRPr sz="1600">
                    <a:cs typeface="+mn-ea"/>
                    <a:sym typeface="+mn-lt"/>
                  </a:endParaRPr>
                </a:p>
              </p:txBody>
            </p:sp>
            <p:sp>
              <p:nvSpPr>
                <p:cNvPr id="47" name="任意多边形: 形状 46">
                  <a:extLst>
                    <a:ext uri="{FF2B5EF4-FFF2-40B4-BE49-F238E27FC236}">
                      <a16:creationId xmlns:a16="http://schemas.microsoft.com/office/drawing/2014/main" id="{695CD0CF-BFA3-4469-9D9A-F1F994F75F97}"/>
                    </a:ext>
                  </a:extLst>
                </p:cNvPr>
                <p:cNvSpPr/>
                <p:nvPr/>
              </p:nvSpPr>
              <p:spPr bwMode="auto">
                <a:xfrm flipV="1">
                  <a:off x="6963555" y="3569413"/>
                  <a:ext cx="1576807" cy="1226771"/>
                </a:xfrm>
                <a:custGeom>
                  <a:avLst/>
                  <a:gdLst>
                    <a:gd name="T0" fmla="*/ 0 w 955"/>
                    <a:gd name="T1" fmla="*/ 215 h 743"/>
                    <a:gd name="T2" fmla="*/ 215 w 955"/>
                    <a:gd name="T3" fmla="*/ 0 h 743"/>
                    <a:gd name="T4" fmla="*/ 955 w 955"/>
                    <a:gd name="T5" fmla="*/ 743 h 743"/>
                    <a:gd name="T6" fmla="*/ 526 w 955"/>
                    <a:gd name="T7" fmla="*/ 743 h 743"/>
                    <a:gd name="T8" fmla="*/ 0 w 955"/>
                    <a:gd name="T9" fmla="*/ 215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5" h="743">
                      <a:moveTo>
                        <a:pt x="0" y="215"/>
                      </a:moveTo>
                      <a:lnTo>
                        <a:pt x="215" y="0"/>
                      </a:lnTo>
                      <a:lnTo>
                        <a:pt x="955" y="743"/>
                      </a:lnTo>
                      <a:lnTo>
                        <a:pt x="526" y="743"/>
                      </a:lnTo>
                      <a:lnTo>
                        <a:pt x="0" y="21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  <a:alpha val="40000"/>
                  </a:schemeClr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/>
                  <a:endParaRPr sz="1600"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39" name="任意多边形: 形状 38">
                <a:extLst>
                  <a:ext uri="{FF2B5EF4-FFF2-40B4-BE49-F238E27FC236}">
                    <a16:creationId xmlns:a16="http://schemas.microsoft.com/office/drawing/2014/main" id="{3B92AEB2-5FC7-4782-B45C-5E41AAA085A9}"/>
                  </a:ext>
                </a:extLst>
              </p:cNvPr>
              <p:cNvSpPr/>
              <p:nvPr/>
            </p:nvSpPr>
            <p:spPr bwMode="auto">
              <a:xfrm>
                <a:off x="4665324" y="3022550"/>
                <a:ext cx="418740" cy="418006"/>
              </a:xfrm>
              <a:custGeom>
                <a:avLst/>
                <a:gdLst>
                  <a:gd name="connsiteX0" fmla="*/ 494240 w 604110"/>
                  <a:gd name="connsiteY0" fmla="*/ 200547 h 603052"/>
                  <a:gd name="connsiteX1" fmla="*/ 591063 w 604110"/>
                  <a:gd name="connsiteY1" fmla="*/ 259888 h 603052"/>
                  <a:gd name="connsiteX2" fmla="*/ 604110 w 604110"/>
                  <a:gd name="connsiteY2" fmla="*/ 283323 h 603052"/>
                  <a:gd name="connsiteX3" fmla="*/ 604110 w 604110"/>
                  <a:gd name="connsiteY3" fmla="*/ 575643 h 603052"/>
                  <a:gd name="connsiteX4" fmla="*/ 576643 w 604110"/>
                  <a:gd name="connsiteY4" fmla="*/ 603052 h 603052"/>
                  <a:gd name="connsiteX5" fmla="*/ 494240 w 604110"/>
                  <a:gd name="connsiteY5" fmla="*/ 603052 h 603052"/>
                  <a:gd name="connsiteX6" fmla="*/ 109870 w 604110"/>
                  <a:gd name="connsiteY6" fmla="*/ 146282 h 603052"/>
                  <a:gd name="connsiteX7" fmla="*/ 109870 w 604110"/>
                  <a:gd name="connsiteY7" fmla="*/ 603052 h 603052"/>
                  <a:gd name="connsiteX8" fmla="*/ 27467 w 604110"/>
                  <a:gd name="connsiteY8" fmla="*/ 603052 h 603052"/>
                  <a:gd name="connsiteX9" fmla="*/ 0 w 604110"/>
                  <a:gd name="connsiteY9" fmla="*/ 575643 h 603052"/>
                  <a:gd name="connsiteX10" fmla="*/ 0 w 604110"/>
                  <a:gd name="connsiteY10" fmla="*/ 228509 h 603052"/>
                  <a:gd name="connsiteX11" fmla="*/ 12223 w 604110"/>
                  <a:gd name="connsiteY11" fmla="*/ 205622 h 603052"/>
                  <a:gd name="connsiteX12" fmla="*/ 94625 w 604110"/>
                  <a:gd name="connsiteY12" fmla="*/ 150804 h 603052"/>
                  <a:gd name="connsiteX13" fmla="*/ 109870 w 604110"/>
                  <a:gd name="connsiteY13" fmla="*/ 146282 h 603052"/>
                  <a:gd name="connsiteX14" fmla="*/ 302055 w 604110"/>
                  <a:gd name="connsiteY14" fmla="*/ 0 h 603052"/>
                  <a:gd name="connsiteX15" fmla="*/ 329512 w 604110"/>
                  <a:gd name="connsiteY15" fmla="*/ 27411 h 603052"/>
                  <a:gd name="connsiteX16" fmla="*/ 329512 w 604110"/>
                  <a:gd name="connsiteY16" fmla="*/ 73052 h 603052"/>
                  <a:gd name="connsiteX17" fmla="*/ 411883 w 604110"/>
                  <a:gd name="connsiteY17" fmla="*/ 73052 h 603052"/>
                  <a:gd name="connsiteX18" fmla="*/ 439340 w 604110"/>
                  <a:gd name="connsiteY18" fmla="*/ 100463 h 603052"/>
                  <a:gd name="connsiteX19" fmla="*/ 439340 w 604110"/>
                  <a:gd name="connsiteY19" fmla="*/ 111976 h 603052"/>
                  <a:gd name="connsiteX20" fmla="*/ 439340 w 604110"/>
                  <a:gd name="connsiteY20" fmla="*/ 166799 h 603052"/>
                  <a:gd name="connsiteX21" fmla="*/ 439340 w 604110"/>
                  <a:gd name="connsiteY21" fmla="*/ 603052 h 603052"/>
                  <a:gd name="connsiteX22" fmla="*/ 411883 w 604110"/>
                  <a:gd name="connsiteY22" fmla="*/ 603052 h 603052"/>
                  <a:gd name="connsiteX23" fmla="*/ 329512 w 604110"/>
                  <a:gd name="connsiteY23" fmla="*/ 603052 h 603052"/>
                  <a:gd name="connsiteX24" fmla="*/ 329512 w 604110"/>
                  <a:gd name="connsiteY24" fmla="*/ 548229 h 603052"/>
                  <a:gd name="connsiteX25" fmla="*/ 329512 w 604110"/>
                  <a:gd name="connsiteY25" fmla="*/ 520818 h 603052"/>
                  <a:gd name="connsiteX26" fmla="*/ 302055 w 604110"/>
                  <a:gd name="connsiteY26" fmla="*/ 493406 h 603052"/>
                  <a:gd name="connsiteX27" fmla="*/ 274598 w 604110"/>
                  <a:gd name="connsiteY27" fmla="*/ 520818 h 603052"/>
                  <a:gd name="connsiteX28" fmla="*/ 274598 w 604110"/>
                  <a:gd name="connsiteY28" fmla="*/ 548229 h 603052"/>
                  <a:gd name="connsiteX29" fmla="*/ 274598 w 604110"/>
                  <a:gd name="connsiteY29" fmla="*/ 603052 h 603052"/>
                  <a:gd name="connsiteX30" fmla="*/ 192227 w 604110"/>
                  <a:gd name="connsiteY30" fmla="*/ 603052 h 603052"/>
                  <a:gd name="connsiteX31" fmla="*/ 164770 w 604110"/>
                  <a:gd name="connsiteY31" fmla="*/ 603052 h 603052"/>
                  <a:gd name="connsiteX32" fmla="*/ 164770 w 604110"/>
                  <a:gd name="connsiteY32" fmla="*/ 177215 h 603052"/>
                  <a:gd name="connsiteX33" fmla="*/ 164770 w 604110"/>
                  <a:gd name="connsiteY33" fmla="*/ 100463 h 603052"/>
                  <a:gd name="connsiteX34" fmla="*/ 172870 w 604110"/>
                  <a:gd name="connsiteY34" fmla="*/ 81138 h 603052"/>
                  <a:gd name="connsiteX35" fmla="*/ 192227 w 604110"/>
                  <a:gd name="connsiteY35" fmla="*/ 73052 h 603052"/>
                  <a:gd name="connsiteX36" fmla="*/ 274598 w 604110"/>
                  <a:gd name="connsiteY36" fmla="*/ 73052 h 603052"/>
                  <a:gd name="connsiteX37" fmla="*/ 274598 w 604110"/>
                  <a:gd name="connsiteY37" fmla="*/ 27411 h 603052"/>
                  <a:gd name="connsiteX38" fmla="*/ 302055 w 604110"/>
                  <a:gd name="connsiteY38" fmla="*/ 0 h 603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604110" h="603052">
                    <a:moveTo>
                      <a:pt x="494240" y="200547"/>
                    </a:moveTo>
                    <a:lnTo>
                      <a:pt x="591063" y="259888"/>
                    </a:lnTo>
                    <a:cubicBezTo>
                      <a:pt x="599166" y="264959"/>
                      <a:pt x="604110" y="273730"/>
                      <a:pt x="604110" y="283323"/>
                    </a:cubicBezTo>
                    <a:lnTo>
                      <a:pt x="604110" y="575643"/>
                    </a:lnTo>
                    <a:cubicBezTo>
                      <a:pt x="604110" y="590718"/>
                      <a:pt x="591750" y="603052"/>
                      <a:pt x="576643" y="603052"/>
                    </a:cubicBezTo>
                    <a:lnTo>
                      <a:pt x="494240" y="603052"/>
                    </a:lnTo>
                    <a:close/>
                    <a:moveTo>
                      <a:pt x="109870" y="146282"/>
                    </a:moveTo>
                    <a:lnTo>
                      <a:pt x="109870" y="603052"/>
                    </a:lnTo>
                    <a:lnTo>
                      <a:pt x="27467" y="603052"/>
                    </a:lnTo>
                    <a:cubicBezTo>
                      <a:pt x="12360" y="603052"/>
                      <a:pt x="0" y="590718"/>
                      <a:pt x="0" y="575643"/>
                    </a:cubicBezTo>
                    <a:lnTo>
                      <a:pt x="0" y="228509"/>
                    </a:lnTo>
                    <a:cubicBezTo>
                      <a:pt x="0" y="219327"/>
                      <a:pt x="4532" y="210693"/>
                      <a:pt x="12223" y="205622"/>
                    </a:cubicBezTo>
                    <a:lnTo>
                      <a:pt x="94625" y="150804"/>
                    </a:lnTo>
                    <a:cubicBezTo>
                      <a:pt x="99295" y="147789"/>
                      <a:pt x="104514" y="146282"/>
                      <a:pt x="109870" y="146282"/>
                    </a:cubicBezTo>
                    <a:close/>
                    <a:moveTo>
                      <a:pt x="302055" y="0"/>
                    </a:moveTo>
                    <a:cubicBezTo>
                      <a:pt x="317156" y="0"/>
                      <a:pt x="329512" y="12335"/>
                      <a:pt x="329512" y="27411"/>
                    </a:cubicBezTo>
                    <a:lnTo>
                      <a:pt x="329512" y="73052"/>
                    </a:lnTo>
                    <a:lnTo>
                      <a:pt x="411883" y="73052"/>
                    </a:lnTo>
                    <a:cubicBezTo>
                      <a:pt x="426984" y="73052"/>
                      <a:pt x="439340" y="85387"/>
                      <a:pt x="439340" y="100463"/>
                    </a:cubicBezTo>
                    <a:lnTo>
                      <a:pt x="439340" y="111976"/>
                    </a:lnTo>
                    <a:lnTo>
                      <a:pt x="439340" y="166799"/>
                    </a:lnTo>
                    <a:lnTo>
                      <a:pt x="439340" y="603052"/>
                    </a:lnTo>
                    <a:lnTo>
                      <a:pt x="411883" y="603052"/>
                    </a:lnTo>
                    <a:lnTo>
                      <a:pt x="329512" y="603052"/>
                    </a:lnTo>
                    <a:lnTo>
                      <a:pt x="329512" y="548229"/>
                    </a:lnTo>
                    <a:lnTo>
                      <a:pt x="329512" y="520818"/>
                    </a:lnTo>
                    <a:cubicBezTo>
                      <a:pt x="329512" y="505604"/>
                      <a:pt x="317156" y="493406"/>
                      <a:pt x="302055" y="493406"/>
                    </a:cubicBezTo>
                    <a:cubicBezTo>
                      <a:pt x="286816" y="493406"/>
                      <a:pt x="274598" y="505604"/>
                      <a:pt x="274598" y="520818"/>
                    </a:cubicBezTo>
                    <a:lnTo>
                      <a:pt x="274598" y="548229"/>
                    </a:lnTo>
                    <a:lnTo>
                      <a:pt x="274598" y="603052"/>
                    </a:lnTo>
                    <a:lnTo>
                      <a:pt x="192227" y="603052"/>
                    </a:lnTo>
                    <a:lnTo>
                      <a:pt x="164770" y="603052"/>
                    </a:lnTo>
                    <a:lnTo>
                      <a:pt x="164770" y="177215"/>
                    </a:lnTo>
                    <a:lnTo>
                      <a:pt x="164770" y="100463"/>
                    </a:lnTo>
                    <a:cubicBezTo>
                      <a:pt x="164770" y="93199"/>
                      <a:pt x="167653" y="86209"/>
                      <a:pt x="172870" y="81138"/>
                    </a:cubicBezTo>
                    <a:cubicBezTo>
                      <a:pt x="177949" y="75930"/>
                      <a:pt x="184951" y="73052"/>
                      <a:pt x="192227" y="73052"/>
                    </a:cubicBezTo>
                    <a:lnTo>
                      <a:pt x="274598" y="73052"/>
                    </a:lnTo>
                    <a:lnTo>
                      <a:pt x="274598" y="27411"/>
                    </a:lnTo>
                    <a:cubicBezTo>
                      <a:pt x="274598" y="12335"/>
                      <a:pt x="286816" y="0"/>
                      <a:pt x="302055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txBody>
              <a:bodyPr/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40" name="文本框 39">
                <a:extLst>
                  <a:ext uri="{FF2B5EF4-FFF2-40B4-BE49-F238E27FC236}">
                    <a16:creationId xmlns:a16="http://schemas.microsoft.com/office/drawing/2014/main" id="{D248031B-6682-4C37-A608-BB6A669F2CA5}"/>
                  </a:ext>
                </a:extLst>
              </p:cNvPr>
              <p:cNvSpPr txBox="1"/>
              <p:nvPr/>
            </p:nvSpPr>
            <p:spPr bwMode="auto">
              <a:xfrm>
                <a:off x="4107539" y="3538728"/>
                <a:ext cx="1534310" cy="446310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zh-CN" altLang="en-US" sz="1600" b="1" dirty="0">
                    <a:cs typeface="+mn-ea"/>
                    <a:sym typeface="+mn-lt"/>
                  </a:rPr>
                  <a:t>部分新增需求</a:t>
                </a:r>
                <a:endParaRPr lang="en-US" altLang="zh-CN" sz="1600" b="1" dirty="0">
                  <a:cs typeface="+mn-ea"/>
                  <a:sym typeface="+mn-lt"/>
                </a:endParaRPr>
              </a:p>
            </p:txBody>
          </p:sp>
        </p:grpSp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id="{6C98437B-ED28-456C-9065-AE05EA05FDF0}"/>
                </a:ext>
              </a:extLst>
            </p:cNvPr>
            <p:cNvCxnSpPr>
              <a:cxnSpLocks/>
            </p:cNvCxnSpPr>
            <p:nvPr/>
          </p:nvCxnSpPr>
          <p:spPr>
            <a:xfrm>
              <a:off x="5705856" y="3569413"/>
              <a:ext cx="5814632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文本框 7">
              <a:extLst>
                <a:ext uri="{FF2B5EF4-FFF2-40B4-BE49-F238E27FC236}">
                  <a16:creationId xmlns:a16="http://schemas.microsoft.com/office/drawing/2014/main" id="{ABBC3334-4AC1-4D58-A9C8-D464B2710221}"/>
                </a:ext>
              </a:extLst>
            </p:cNvPr>
            <p:cNvSpPr txBox="1"/>
            <p:nvPr/>
          </p:nvSpPr>
          <p:spPr>
            <a:xfrm>
              <a:off x="5684170" y="2342641"/>
              <a:ext cx="1722470" cy="73578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1E815A89-9FEA-4AAB-9207-6E9F9499E115}"/>
                </a:ext>
              </a:extLst>
            </p:cNvPr>
            <p:cNvSpPr/>
            <p:nvPr/>
          </p:nvSpPr>
          <p:spPr>
            <a:xfrm>
              <a:off x="5735770" y="2913121"/>
              <a:ext cx="1722470" cy="370980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/>
            <a:p>
              <a:pPr lvl="0" algn="ctr" defTabSz="914378">
                <a:defRPr/>
              </a:pPr>
              <a:r>
                <a:rPr lang="zh-CN" altLang="en-US" sz="1600" b="1" dirty="0">
                  <a:cs typeface="+mn-ea"/>
                  <a:sym typeface="+mn-lt"/>
                </a:rPr>
                <a:t>增加测试版</a:t>
              </a:r>
            </a:p>
          </p:txBody>
        </p:sp>
        <p:sp>
          <p:nvSpPr>
            <p:cNvPr id="10" name="文本框 9">
              <a:extLst>
                <a:ext uri="{FF2B5EF4-FFF2-40B4-BE49-F238E27FC236}">
                  <a16:creationId xmlns:a16="http://schemas.microsoft.com/office/drawing/2014/main" id="{968F2FBA-6B0F-408D-A389-A6051C878EA7}"/>
                </a:ext>
              </a:extLst>
            </p:cNvPr>
            <p:cNvSpPr txBox="1"/>
            <p:nvPr/>
          </p:nvSpPr>
          <p:spPr>
            <a:xfrm>
              <a:off x="3867830" y="1175913"/>
              <a:ext cx="1722470" cy="73578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3F2935DF-9F9E-49B8-9152-0293705CA0D4}"/>
                </a:ext>
              </a:extLst>
            </p:cNvPr>
            <p:cNvSpPr/>
            <p:nvPr/>
          </p:nvSpPr>
          <p:spPr>
            <a:xfrm>
              <a:off x="7769161" y="2965651"/>
              <a:ext cx="1706889" cy="370980"/>
            </a:xfrm>
            <a:prstGeom prst="rect">
              <a:avLst/>
            </a:prstGeom>
          </p:spPr>
          <p:txBody>
            <a:bodyPr wrap="square" lIns="91440" tIns="45720" rIns="91440" bIns="45720">
              <a:normAutofit fontScale="85000" lnSpcReduction="10000"/>
            </a:bodyPr>
            <a:lstStyle/>
            <a:p>
              <a:pPr lvl="0" algn="ctr" defTabSz="914378">
                <a:defRPr/>
              </a:pPr>
              <a:r>
                <a:rPr lang="zh-CN" altLang="en-US" sz="1600" b="1" dirty="0">
                  <a:cs typeface="+mn-ea"/>
                  <a:sym typeface="+mn-lt"/>
                </a:rPr>
                <a:t>厂商信息</a:t>
              </a:r>
              <a:r>
                <a:rPr lang="en-US" altLang="zh-CN" sz="1600" b="1" dirty="0">
                  <a:cs typeface="+mn-ea"/>
                  <a:sym typeface="+mn-lt"/>
                </a:rPr>
                <a:t>excel</a:t>
              </a:r>
              <a:r>
                <a:rPr lang="zh-CN" altLang="en-US" sz="1600" b="1" dirty="0">
                  <a:cs typeface="+mn-ea"/>
                  <a:sym typeface="+mn-lt"/>
                </a:rPr>
                <a:t>导入</a:t>
              </a:r>
            </a:p>
          </p:txBody>
        </p: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606D643D-669A-4CE4-B40B-A9B935D3A62A}"/>
                </a:ext>
              </a:extLst>
            </p:cNvPr>
            <p:cNvSpPr txBox="1"/>
            <p:nvPr/>
          </p:nvSpPr>
          <p:spPr>
            <a:xfrm>
              <a:off x="9798018" y="2342641"/>
              <a:ext cx="1722470" cy="73578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2DEF8F27-571A-4D3B-99B9-37E7030CCF27}"/>
                </a:ext>
              </a:extLst>
            </p:cNvPr>
            <p:cNvSpPr/>
            <p:nvPr/>
          </p:nvSpPr>
          <p:spPr>
            <a:xfrm>
              <a:off x="9721077" y="2940231"/>
              <a:ext cx="1722470" cy="370980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/>
            <a:p>
              <a:pPr lvl="0" algn="ctr" defTabSz="914378">
                <a:defRPr/>
              </a:pPr>
              <a:r>
                <a:rPr lang="zh-CN" altLang="en-US" sz="1600" b="1" dirty="0">
                  <a:cs typeface="+mn-ea"/>
                  <a:sym typeface="+mn-lt"/>
                </a:rPr>
                <a:t>下载注册码</a:t>
              </a:r>
            </a:p>
          </p:txBody>
        </p:sp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984CD257-40A1-4A2B-87D3-A001A4558AAD}"/>
                </a:ext>
              </a:extLst>
            </p:cNvPr>
            <p:cNvGrpSpPr/>
            <p:nvPr/>
          </p:nvGrpSpPr>
          <p:grpSpPr>
            <a:xfrm>
              <a:off x="6315934" y="2484510"/>
              <a:ext cx="414046" cy="414046"/>
              <a:chOff x="4259593" y="5526909"/>
              <a:chExt cx="707987" cy="707987"/>
            </a:xfrm>
          </p:grpSpPr>
          <p:sp>
            <p:nvSpPr>
              <p:cNvPr id="36" name="椭圆 35">
                <a:extLst>
                  <a:ext uri="{FF2B5EF4-FFF2-40B4-BE49-F238E27FC236}">
                    <a16:creationId xmlns:a16="http://schemas.microsoft.com/office/drawing/2014/main" id="{6D03F5F6-D744-4F03-B756-2D2073DAC9BA}"/>
                  </a:ext>
                </a:extLst>
              </p:cNvPr>
              <p:cNvSpPr/>
              <p:nvPr/>
            </p:nvSpPr>
            <p:spPr>
              <a:xfrm>
                <a:off x="4259593" y="5526909"/>
                <a:ext cx="707987" cy="707987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77500" lnSpcReduction="20000"/>
              </a:bodyPr>
              <a:lstStyle/>
              <a:p>
                <a:pPr marL="0" marR="0" lvl="0" indent="0" algn="ctr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37" name="任意多边形: 形状 36">
                <a:extLst>
                  <a:ext uri="{FF2B5EF4-FFF2-40B4-BE49-F238E27FC236}">
                    <a16:creationId xmlns:a16="http://schemas.microsoft.com/office/drawing/2014/main" id="{DBF401D9-8CAF-4B44-843B-632F57DB821C}"/>
                  </a:ext>
                </a:extLst>
              </p:cNvPr>
              <p:cNvSpPr/>
              <p:nvPr/>
            </p:nvSpPr>
            <p:spPr bwMode="auto">
              <a:xfrm>
                <a:off x="4385934" y="5672052"/>
                <a:ext cx="455305" cy="417710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grpSp>
          <p:nvGrpSpPr>
            <p:cNvPr id="15" name="组合 14">
              <a:extLst>
                <a:ext uri="{FF2B5EF4-FFF2-40B4-BE49-F238E27FC236}">
                  <a16:creationId xmlns:a16="http://schemas.microsoft.com/office/drawing/2014/main" id="{F164B3A5-86F6-40E6-90B9-D81890F294A5}"/>
                </a:ext>
              </a:extLst>
            </p:cNvPr>
            <p:cNvGrpSpPr/>
            <p:nvPr/>
          </p:nvGrpSpPr>
          <p:grpSpPr>
            <a:xfrm>
              <a:off x="8415582" y="2481428"/>
              <a:ext cx="414046" cy="414046"/>
              <a:chOff x="4314107" y="5521639"/>
              <a:chExt cx="707987" cy="707987"/>
            </a:xfrm>
          </p:grpSpPr>
          <p:sp>
            <p:nvSpPr>
              <p:cNvPr id="34" name="椭圆 33">
                <a:extLst>
                  <a:ext uri="{FF2B5EF4-FFF2-40B4-BE49-F238E27FC236}">
                    <a16:creationId xmlns:a16="http://schemas.microsoft.com/office/drawing/2014/main" id="{9202B4AA-CCA7-461D-9D7B-300093D4BABB}"/>
                  </a:ext>
                </a:extLst>
              </p:cNvPr>
              <p:cNvSpPr/>
              <p:nvPr/>
            </p:nvSpPr>
            <p:spPr>
              <a:xfrm>
                <a:off x="4314107" y="5521639"/>
                <a:ext cx="707987" cy="707987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77500" lnSpcReduction="20000"/>
              </a:bodyPr>
              <a:lstStyle/>
              <a:p>
                <a:pPr marL="0" marR="0" lvl="0" indent="0" algn="ctr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35" name="任意多边形: 形状 34">
                <a:extLst>
                  <a:ext uri="{FF2B5EF4-FFF2-40B4-BE49-F238E27FC236}">
                    <a16:creationId xmlns:a16="http://schemas.microsoft.com/office/drawing/2014/main" id="{90928B4C-6E3E-4060-9A0B-6B653BDBB3C6}"/>
                  </a:ext>
                </a:extLst>
              </p:cNvPr>
              <p:cNvSpPr/>
              <p:nvPr/>
            </p:nvSpPr>
            <p:spPr bwMode="auto">
              <a:xfrm>
                <a:off x="4440448" y="5648432"/>
                <a:ext cx="455305" cy="417710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grpSp>
          <p:nvGrpSpPr>
            <p:cNvPr id="16" name="组合 15">
              <a:extLst>
                <a:ext uri="{FF2B5EF4-FFF2-40B4-BE49-F238E27FC236}">
                  <a16:creationId xmlns:a16="http://schemas.microsoft.com/office/drawing/2014/main" id="{A8C18893-5D53-4C01-9715-85CB510DCF11}"/>
                </a:ext>
              </a:extLst>
            </p:cNvPr>
            <p:cNvGrpSpPr/>
            <p:nvPr/>
          </p:nvGrpSpPr>
          <p:grpSpPr>
            <a:xfrm>
              <a:off x="10375289" y="2481427"/>
              <a:ext cx="414046" cy="414046"/>
              <a:chOff x="4166414" y="5521637"/>
              <a:chExt cx="707987" cy="707987"/>
            </a:xfrm>
          </p:grpSpPr>
          <p:sp>
            <p:nvSpPr>
              <p:cNvPr id="32" name="椭圆 31">
                <a:extLst>
                  <a:ext uri="{FF2B5EF4-FFF2-40B4-BE49-F238E27FC236}">
                    <a16:creationId xmlns:a16="http://schemas.microsoft.com/office/drawing/2014/main" id="{381CD134-7D31-4A9A-BD49-8317995BD6ED}"/>
                  </a:ext>
                </a:extLst>
              </p:cNvPr>
              <p:cNvSpPr/>
              <p:nvPr/>
            </p:nvSpPr>
            <p:spPr>
              <a:xfrm>
                <a:off x="4166414" y="5521637"/>
                <a:ext cx="707987" cy="707987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77500" lnSpcReduction="20000"/>
              </a:bodyPr>
              <a:lstStyle/>
              <a:p>
                <a:pPr marL="0" marR="0" lvl="0" indent="0" algn="ctr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33" name="任意多边形: 形状 32">
                <a:extLst>
                  <a:ext uri="{FF2B5EF4-FFF2-40B4-BE49-F238E27FC236}">
                    <a16:creationId xmlns:a16="http://schemas.microsoft.com/office/drawing/2014/main" id="{A7B3CA97-21D3-4C07-BFA5-3D10A871D821}"/>
                  </a:ext>
                </a:extLst>
              </p:cNvPr>
              <p:cNvSpPr/>
              <p:nvPr/>
            </p:nvSpPr>
            <p:spPr bwMode="auto">
              <a:xfrm>
                <a:off x="4292755" y="5674176"/>
                <a:ext cx="455305" cy="417710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7A2C07F7-3FC6-42DF-970A-9838FED2C311}"/>
                </a:ext>
              </a:extLst>
            </p:cNvPr>
            <p:cNvSpPr txBox="1"/>
            <p:nvPr/>
          </p:nvSpPr>
          <p:spPr>
            <a:xfrm>
              <a:off x="5684170" y="4857644"/>
              <a:ext cx="1722470" cy="73578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444FDD5D-F735-4ABE-859D-1F015D18C4B8}"/>
                </a:ext>
              </a:extLst>
            </p:cNvPr>
            <p:cNvSpPr/>
            <p:nvPr/>
          </p:nvSpPr>
          <p:spPr>
            <a:xfrm>
              <a:off x="5684170" y="4486665"/>
              <a:ext cx="1722470" cy="370980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/>
            <a:p>
              <a:pPr lvl="0" algn="ctr" defTabSz="914378">
                <a:defRPr/>
              </a:pPr>
              <a:r>
                <a:rPr lang="zh-CN" altLang="en-US" sz="1600" b="1" dirty="0">
                  <a:cs typeface="+mn-ea"/>
                  <a:sym typeface="+mn-lt"/>
                </a:rPr>
                <a:t>增加采集</a:t>
              </a:r>
              <a:r>
                <a:rPr lang="en-US" altLang="zh-CN" sz="1600" b="1" dirty="0">
                  <a:cs typeface="+mn-ea"/>
                  <a:sym typeface="+mn-lt"/>
                </a:rPr>
                <a:t>2.0</a:t>
              </a:r>
              <a:endParaRPr lang="zh-CN" altLang="en-US" sz="1600" b="1" dirty="0">
                <a:cs typeface="+mn-ea"/>
                <a:sym typeface="+mn-lt"/>
              </a:endParaRPr>
            </a:p>
          </p:txBody>
        </p:sp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89AA3158-46A5-4812-B7F8-419CE8A3AE61}"/>
                </a:ext>
              </a:extLst>
            </p:cNvPr>
            <p:cNvSpPr txBox="1"/>
            <p:nvPr/>
          </p:nvSpPr>
          <p:spPr>
            <a:xfrm>
              <a:off x="7773707" y="4764063"/>
              <a:ext cx="1722470" cy="73578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20" name="矩形 19">
              <a:extLst>
                <a:ext uri="{FF2B5EF4-FFF2-40B4-BE49-F238E27FC236}">
                  <a16:creationId xmlns:a16="http://schemas.microsoft.com/office/drawing/2014/main" id="{95A0FA2D-2917-4B06-8678-9A682B710A40}"/>
                </a:ext>
              </a:extLst>
            </p:cNvPr>
            <p:cNvSpPr/>
            <p:nvPr/>
          </p:nvSpPr>
          <p:spPr>
            <a:xfrm>
              <a:off x="7664153" y="4505860"/>
              <a:ext cx="2056924" cy="370980"/>
            </a:xfrm>
            <a:prstGeom prst="rect">
              <a:avLst/>
            </a:prstGeom>
          </p:spPr>
          <p:txBody>
            <a:bodyPr wrap="square" lIns="91440" tIns="45720" rIns="91440" bIns="45720">
              <a:noAutofit/>
            </a:bodyPr>
            <a:lstStyle/>
            <a:p>
              <a:pPr lvl="0" algn="ctr" defTabSz="914378">
                <a:defRPr/>
              </a:pPr>
              <a:r>
                <a:rPr lang="en-US" altLang="zh-CN" sz="1600" b="1" dirty="0">
                  <a:cs typeface="+mn-ea"/>
                  <a:sym typeface="+mn-lt"/>
                </a:rPr>
                <a:t>ESAM </a:t>
              </a:r>
              <a:r>
                <a:rPr lang="zh-CN" altLang="en-US" sz="1600" b="1" dirty="0">
                  <a:cs typeface="+mn-ea"/>
                  <a:sym typeface="+mn-lt"/>
                </a:rPr>
                <a:t>文件大写转化 </a:t>
              </a:r>
            </a:p>
          </p:txBody>
        </p:sp>
        <p:sp>
          <p:nvSpPr>
            <p:cNvPr id="21" name="文本框 20">
              <a:extLst>
                <a:ext uri="{FF2B5EF4-FFF2-40B4-BE49-F238E27FC236}">
                  <a16:creationId xmlns:a16="http://schemas.microsoft.com/office/drawing/2014/main" id="{79B4C6B3-1357-4826-8A57-C7E69C141A9B}"/>
                </a:ext>
              </a:extLst>
            </p:cNvPr>
            <p:cNvSpPr txBox="1"/>
            <p:nvPr/>
          </p:nvSpPr>
          <p:spPr>
            <a:xfrm>
              <a:off x="9798018" y="4857644"/>
              <a:ext cx="1722470" cy="73578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22" name="矩形 21">
              <a:extLst>
                <a:ext uri="{FF2B5EF4-FFF2-40B4-BE49-F238E27FC236}">
                  <a16:creationId xmlns:a16="http://schemas.microsoft.com/office/drawing/2014/main" id="{9C020FB4-45C1-4EDB-B8F7-AFAE99A34F35}"/>
                </a:ext>
              </a:extLst>
            </p:cNvPr>
            <p:cNvSpPr/>
            <p:nvPr/>
          </p:nvSpPr>
          <p:spPr>
            <a:xfrm>
              <a:off x="9798018" y="4486665"/>
              <a:ext cx="1722470" cy="370980"/>
            </a:xfrm>
            <a:prstGeom prst="rect">
              <a:avLst/>
            </a:prstGeom>
          </p:spPr>
          <p:txBody>
            <a:bodyPr wrap="square" lIns="91440" tIns="45720" rIns="91440" bIns="45720">
              <a:normAutofit fontScale="92500"/>
            </a:bodyPr>
            <a:lstStyle/>
            <a:p>
              <a:pPr lvl="0" algn="ctr" defTabSz="914378">
                <a:defRPr/>
              </a:pPr>
              <a:r>
                <a:rPr lang="zh-CN" altLang="en-US" sz="1600" b="1" dirty="0">
                  <a:cs typeface="+mn-ea"/>
                  <a:sym typeface="+mn-lt"/>
                </a:rPr>
                <a:t>取消文件上传限制</a:t>
              </a:r>
            </a:p>
          </p:txBody>
        </p:sp>
        <p:grpSp>
          <p:nvGrpSpPr>
            <p:cNvPr id="23" name="组合 22">
              <a:extLst>
                <a:ext uri="{FF2B5EF4-FFF2-40B4-BE49-F238E27FC236}">
                  <a16:creationId xmlns:a16="http://schemas.microsoft.com/office/drawing/2014/main" id="{6BAD3FC1-995F-42A3-AD6B-FA70F5D329E4}"/>
                </a:ext>
              </a:extLst>
            </p:cNvPr>
            <p:cNvGrpSpPr/>
            <p:nvPr/>
          </p:nvGrpSpPr>
          <p:grpSpPr>
            <a:xfrm>
              <a:off x="6338382" y="3991083"/>
              <a:ext cx="414046" cy="414046"/>
              <a:chOff x="4297977" y="3802571"/>
              <a:chExt cx="707987" cy="707987"/>
            </a:xfrm>
          </p:grpSpPr>
          <p:sp>
            <p:nvSpPr>
              <p:cNvPr id="30" name="椭圆 29">
                <a:extLst>
                  <a:ext uri="{FF2B5EF4-FFF2-40B4-BE49-F238E27FC236}">
                    <a16:creationId xmlns:a16="http://schemas.microsoft.com/office/drawing/2014/main" id="{6C96700F-6A7E-41F8-8E4E-DED671025D5C}"/>
                  </a:ext>
                </a:extLst>
              </p:cNvPr>
              <p:cNvSpPr/>
              <p:nvPr/>
            </p:nvSpPr>
            <p:spPr>
              <a:xfrm>
                <a:off x="4297977" y="3802571"/>
                <a:ext cx="707987" cy="70798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77500" lnSpcReduction="20000"/>
              </a:bodyPr>
              <a:lstStyle/>
              <a:p>
                <a:pPr marL="0" marR="0" lvl="0" indent="0" algn="ctr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31" name="任意多边形: 形状 30">
                <a:extLst>
                  <a:ext uri="{FF2B5EF4-FFF2-40B4-BE49-F238E27FC236}">
                    <a16:creationId xmlns:a16="http://schemas.microsoft.com/office/drawing/2014/main" id="{847EDD91-75DF-4B4A-9732-EA5C7DF0D310}"/>
                  </a:ext>
                </a:extLst>
              </p:cNvPr>
              <p:cNvSpPr/>
              <p:nvPr/>
            </p:nvSpPr>
            <p:spPr bwMode="auto">
              <a:xfrm>
                <a:off x="4424318" y="3947709"/>
                <a:ext cx="455305" cy="417711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grpSp>
          <p:nvGrpSpPr>
            <p:cNvPr id="24" name="组合 23">
              <a:extLst>
                <a:ext uri="{FF2B5EF4-FFF2-40B4-BE49-F238E27FC236}">
                  <a16:creationId xmlns:a16="http://schemas.microsoft.com/office/drawing/2014/main" id="{789DD717-F3CD-4809-9947-5582503CC025}"/>
                </a:ext>
              </a:extLst>
            </p:cNvPr>
            <p:cNvGrpSpPr/>
            <p:nvPr/>
          </p:nvGrpSpPr>
          <p:grpSpPr>
            <a:xfrm>
              <a:off x="8406149" y="3991083"/>
              <a:ext cx="414046" cy="414046"/>
              <a:chOff x="4297977" y="3802571"/>
              <a:chExt cx="707987" cy="707987"/>
            </a:xfrm>
          </p:grpSpPr>
          <p:sp>
            <p:nvSpPr>
              <p:cNvPr id="28" name="椭圆 27">
                <a:extLst>
                  <a:ext uri="{FF2B5EF4-FFF2-40B4-BE49-F238E27FC236}">
                    <a16:creationId xmlns:a16="http://schemas.microsoft.com/office/drawing/2014/main" id="{CC4716C0-B5A2-4DA5-884D-A23E9CD3C0F0}"/>
                  </a:ext>
                </a:extLst>
              </p:cNvPr>
              <p:cNvSpPr/>
              <p:nvPr/>
            </p:nvSpPr>
            <p:spPr>
              <a:xfrm>
                <a:off x="4297977" y="3802571"/>
                <a:ext cx="707987" cy="70798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77500" lnSpcReduction="20000"/>
              </a:bodyPr>
              <a:lstStyle/>
              <a:p>
                <a:pPr algn="ctr" defTabSz="913765"/>
                <a:endParaRPr lang="zh-CN" altLang="en-US" sz="2000">
                  <a:solidFill>
                    <a:srgbClr val="FFFFFF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9" name="任意多边形: 形状 28">
                <a:extLst>
                  <a:ext uri="{FF2B5EF4-FFF2-40B4-BE49-F238E27FC236}">
                    <a16:creationId xmlns:a16="http://schemas.microsoft.com/office/drawing/2014/main" id="{A5CF0B1D-A9B4-4CE5-828D-8B772B59DD3A}"/>
                  </a:ext>
                </a:extLst>
              </p:cNvPr>
              <p:cNvSpPr/>
              <p:nvPr/>
            </p:nvSpPr>
            <p:spPr bwMode="auto">
              <a:xfrm>
                <a:off x="4424318" y="3947709"/>
                <a:ext cx="455305" cy="417711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grpSp>
          <p:nvGrpSpPr>
            <p:cNvPr id="25" name="组合 24">
              <a:extLst>
                <a:ext uri="{FF2B5EF4-FFF2-40B4-BE49-F238E27FC236}">
                  <a16:creationId xmlns:a16="http://schemas.microsoft.com/office/drawing/2014/main" id="{F46CA79B-2EDB-4272-BF33-F11CD387B01D}"/>
                </a:ext>
              </a:extLst>
            </p:cNvPr>
            <p:cNvGrpSpPr/>
            <p:nvPr/>
          </p:nvGrpSpPr>
          <p:grpSpPr>
            <a:xfrm>
              <a:off x="10452230" y="3991083"/>
              <a:ext cx="414046" cy="414046"/>
              <a:chOff x="4297977" y="3802571"/>
              <a:chExt cx="707987" cy="707987"/>
            </a:xfrm>
          </p:grpSpPr>
          <p:sp>
            <p:nvSpPr>
              <p:cNvPr id="26" name="椭圆 25">
                <a:extLst>
                  <a:ext uri="{FF2B5EF4-FFF2-40B4-BE49-F238E27FC236}">
                    <a16:creationId xmlns:a16="http://schemas.microsoft.com/office/drawing/2014/main" id="{54AFAC85-05D0-46B0-AD07-35F5C1D778CF}"/>
                  </a:ext>
                </a:extLst>
              </p:cNvPr>
              <p:cNvSpPr/>
              <p:nvPr/>
            </p:nvSpPr>
            <p:spPr>
              <a:xfrm>
                <a:off x="4297977" y="3802571"/>
                <a:ext cx="707987" cy="70798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77500" lnSpcReduction="20000"/>
              </a:bodyPr>
              <a:lstStyle/>
              <a:p>
                <a:pPr algn="ctr" defTabSz="913765"/>
                <a:endParaRPr lang="zh-CN" altLang="en-US" sz="2000">
                  <a:solidFill>
                    <a:srgbClr val="FFFFFF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7" name="任意多边形: 形状 26">
                <a:extLst>
                  <a:ext uri="{FF2B5EF4-FFF2-40B4-BE49-F238E27FC236}">
                    <a16:creationId xmlns:a16="http://schemas.microsoft.com/office/drawing/2014/main" id="{C08E5138-E054-437E-91FA-0BF20AB8C8F8}"/>
                  </a:ext>
                </a:extLst>
              </p:cNvPr>
              <p:cNvSpPr/>
              <p:nvPr/>
            </p:nvSpPr>
            <p:spPr bwMode="auto">
              <a:xfrm>
                <a:off x="4424318" y="3947709"/>
                <a:ext cx="455305" cy="417711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843379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6B1C268-085D-4DE8-9101-2D4B52E5FC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F53B0B5-0BBC-43E5-96DC-C5F1C63085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6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25606952-5690-442C-9C76-6AC1FD6C6A80}"/>
              </a:ext>
            </a:extLst>
          </p:cNvPr>
          <p:cNvGrpSpPr>
            <a:grpSpLocks noChangeAspect="1"/>
          </p:cNvGrpSpPr>
          <p:nvPr/>
        </p:nvGrpSpPr>
        <p:grpSpPr>
          <a:xfrm>
            <a:off x="615815" y="1336683"/>
            <a:ext cx="10805220" cy="4726914"/>
            <a:chOff x="614716" y="1336682"/>
            <a:chExt cx="11012508" cy="4817595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0172D5E2-99AE-4FB1-A405-CAB6DD831B1D}"/>
                </a:ext>
              </a:extLst>
            </p:cNvPr>
            <p:cNvGrpSpPr/>
            <p:nvPr/>
          </p:nvGrpSpPr>
          <p:grpSpPr>
            <a:xfrm>
              <a:off x="3621741" y="2326986"/>
              <a:ext cx="4948518" cy="1979406"/>
              <a:chOff x="3621741" y="2439297"/>
              <a:chExt cx="4948518" cy="1979406"/>
            </a:xfrm>
          </p:grpSpPr>
          <p:sp>
            <p:nvSpPr>
              <p:cNvPr id="49" name="形状 48">
                <a:extLst>
                  <a:ext uri="{FF2B5EF4-FFF2-40B4-BE49-F238E27FC236}">
                    <a16:creationId xmlns:a16="http://schemas.microsoft.com/office/drawing/2014/main" id="{DA299F04-3991-4AA9-809B-961C34AFC463}"/>
                  </a:ext>
                </a:extLst>
              </p:cNvPr>
              <p:cNvSpPr/>
              <p:nvPr/>
            </p:nvSpPr>
            <p:spPr>
              <a:xfrm>
                <a:off x="3621741" y="2439297"/>
                <a:ext cx="4948518" cy="1979406"/>
              </a:xfrm>
              <a:prstGeom prst="leftRightRibbon">
                <a:avLst>
                  <a:gd name="adj1" fmla="val 50000"/>
                  <a:gd name="adj2" fmla="val 50000"/>
                  <a:gd name="adj3" fmla="val 17379"/>
                </a:avLst>
              </a:prstGeom>
              <a:solidFill>
                <a:schemeClr val="bg1">
                  <a:lumMod val="9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50" name="文本框 49">
                <a:extLst>
                  <a:ext uri="{FF2B5EF4-FFF2-40B4-BE49-F238E27FC236}">
                    <a16:creationId xmlns:a16="http://schemas.microsoft.com/office/drawing/2014/main" id="{6ABC88E8-5175-4723-A83B-83C398374EFD}"/>
                  </a:ext>
                </a:extLst>
              </p:cNvPr>
              <p:cNvSpPr txBox="1"/>
              <p:nvPr/>
            </p:nvSpPr>
            <p:spPr bwMode="auto">
              <a:xfrm>
                <a:off x="4500628" y="3006839"/>
                <a:ext cx="1331365" cy="46384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 fontScale="925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zh-CN" altLang="en-US" b="1" dirty="0">
                    <a:cs typeface="+mn-ea"/>
                    <a:sym typeface="+mn-lt"/>
                  </a:rPr>
                  <a:t>其他新需求</a:t>
                </a:r>
                <a:endParaRPr lang="en-US" altLang="zh-CN" b="1" dirty="0">
                  <a:cs typeface="+mn-ea"/>
                  <a:sym typeface="+mn-lt"/>
                </a:endParaRPr>
              </a:p>
            </p:txBody>
          </p:sp>
          <p:sp>
            <p:nvSpPr>
              <p:cNvPr id="51" name="文本框 50">
                <a:extLst>
                  <a:ext uri="{FF2B5EF4-FFF2-40B4-BE49-F238E27FC236}">
                    <a16:creationId xmlns:a16="http://schemas.microsoft.com/office/drawing/2014/main" id="{FEFEAFD1-D0CA-4646-9B80-E43BAF7E89D6}"/>
                  </a:ext>
                </a:extLst>
              </p:cNvPr>
              <p:cNvSpPr txBox="1"/>
              <p:nvPr/>
            </p:nvSpPr>
            <p:spPr bwMode="auto">
              <a:xfrm>
                <a:off x="6301289" y="3309388"/>
                <a:ext cx="1331365" cy="46384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 dirty="0">
                    <a:cs typeface="+mn-ea"/>
                    <a:sym typeface="+mn-lt"/>
                  </a:rPr>
                  <a:t>BUG</a:t>
                </a:r>
                <a:r>
                  <a:rPr lang="zh-CN" altLang="en-US" b="1" dirty="0">
                    <a:cs typeface="+mn-ea"/>
                    <a:sym typeface="+mn-lt"/>
                  </a:rPr>
                  <a:t>修复</a:t>
                </a:r>
                <a:endParaRPr lang="en-US" altLang="zh-CN" b="1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35DC9054-357D-4F69-A718-C4EB9E7B316E}"/>
                </a:ext>
              </a:extLst>
            </p:cNvPr>
            <p:cNvGrpSpPr/>
            <p:nvPr/>
          </p:nvGrpSpPr>
          <p:grpSpPr>
            <a:xfrm>
              <a:off x="673100" y="1336682"/>
              <a:ext cx="2736851" cy="1033406"/>
              <a:chOff x="673100" y="1336682"/>
              <a:chExt cx="2736851" cy="1033406"/>
            </a:xfrm>
          </p:grpSpPr>
          <p:grpSp>
            <p:nvGrpSpPr>
              <p:cNvPr id="43" name="组合 42">
                <a:extLst>
                  <a:ext uri="{FF2B5EF4-FFF2-40B4-BE49-F238E27FC236}">
                    <a16:creationId xmlns:a16="http://schemas.microsoft.com/office/drawing/2014/main" id="{DA9622D5-BECE-4CB7-B7CF-BA479A659EA2}"/>
                  </a:ext>
                </a:extLst>
              </p:cNvPr>
              <p:cNvGrpSpPr/>
              <p:nvPr/>
            </p:nvGrpSpPr>
            <p:grpSpPr>
              <a:xfrm>
                <a:off x="2647463" y="1336682"/>
                <a:ext cx="762488" cy="762486"/>
                <a:chOff x="669925" y="1181875"/>
                <a:chExt cx="546847" cy="546847"/>
              </a:xfrm>
            </p:grpSpPr>
            <p:sp>
              <p:nvSpPr>
                <p:cNvPr id="47" name="椭圆 46">
                  <a:extLst>
                    <a:ext uri="{FF2B5EF4-FFF2-40B4-BE49-F238E27FC236}">
                      <a16:creationId xmlns:a16="http://schemas.microsoft.com/office/drawing/2014/main" id="{3AAE2F66-8D86-4D67-BDF4-38E9BB23C760}"/>
                    </a:ext>
                  </a:extLst>
                </p:cNvPr>
                <p:cNvSpPr/>
                <p:nvPr/>
              </p:nvSpPr>
              <p:spPr>
                <a:xfrm>
                  <a:off x="669925" y="1181875"/>
                  <a:ext cx="546847" cy="546847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rmAutofit/>
                </a:bodyPr>
                <a:lstStyle/>
                <a:p>
                  <a:pPr algn="ctr"/>
                  <a:endParaRPr lang="zh-CN" altLang="en-US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48" name="任意多边形: 形状 47">
                  <a:extLst>
                    <a:ext uri="{FF2B5EF4-FFF2-40B4-BE49-F238E27FC236}">
                      <a16:creationId xmlns:a16="http://schemas.microsoft.com/office/drawing/2014/main" id="{06C66DFE-ABD8-4AEB-A4B6-903E3C8B7737}"/>
                    </a:ext>
                  </a:extLst>
                </p:cNvPr>
                <p:cNvSpPr/>
                <p:nvPr/>
              </p:nvSpPr>
              <p:spPr bwMode="auto">
                <a:xfrm>
                  <a:off x="800847" y="1324564"/>
                  <a:ext cx="285004" cy="261470"/>
                </a:xfrm>
                <a:custGeom>
                  <a:avLst/>
                  <a:gdLst>
                    <a:gd name="connsiteX0" fmla="*/ 303857 w 607639"/>
                    <a:gd name="connsiteY0" fmla="*/ 303714 h 557467"/>
                    <a:gd name="connsiteX1" fmla="*/ 352986 w 607639"/>
                    <a:gd name="connsiteY1" fmla="*/ 309132 h 557467"/>
                    <a:gd name="connsiteX2" fmla="*/ 514597 w 607639"/>
                    <a:gd name="connsiteY2" fmla="*/ 449845 h 557467"/>
                    <a:gd name="connsiteX3" fmla="*/ 528676 w 607639"/>
                    <a:gd name="connsiteY3" fmla="*/ 528182 h 557467"/>
                    <a:gd name="connsiteX4" fmla="*/ 499345 w 607639"/>
                    <a:gd name="connsiteY4" fmla="*/ 557467 h 557467"/>
                    <a:gd name="connsiteX5" fmla="*/ 108223 w 607639"/>
                    <a:gd name="connsiteY5" fmla="*/ 557467 h 557467"/>
                    <a:gd name="connsiteX6" fmla="*/ 78892 w 607639"/>
                    <a:gd name="connsiteY6" fmla="*/ 528182 h 557467"/>
                    <a:gd name="connsiteX7" fmla="*/ 303857 w 607639"/>
                    <a:gd name="connsiteY7" fmla="*/ 303714 h 557467"/>
                    <a:gd name="connsiteX8" fmla="*/ 455825 w 607639"/>
                    <a:gd name="connsiteY8" fmla="*/ 268995 h 557467"/>
                    <a:gd name="connsiteX9" fmla="*/ 607639 w 607639"/>
                    <a:gd name="connsiteY9" fmla="*/ 420565 h 557467"/>
                    <a:gd name="connsiteX10" fmla="*/ 578303 w 607639"/>
                    <a:gd name="connsiteY10" fmla="*/ 449854 h 557467"/>
                    <a:gd name="connsiteX11" fmla="*/ 576396 w 607639"/>
                    <a:gd name="connsiteY11" fmla="*/ 449854 h 557467"/>
                    <a:gd name="connsiteX12" fmla="*/ 424875 w 607639"/>
                    <a:gd name="connsiteY12" fmla="*/ 272217 h 557467"/>
                    <a:gd name="connsiteX13" fmla="*/ 455825 w 607639"/>
                    <a:gd name="connsiteY13" fmla="*/ 268995 h 557467"/>
                    <a:gd name="connsiteX14" fmla="*/ 151811 w 607639"/>
                    <a:gd name="connsiteY14" fmla="*/ 268995 h 557467"/>
                    <a:gd name="connsiteX15" fmla="*/ 182906 w 607639"/>
                    <a:gd name="connsiteY15" fmla="*/ 272217 h 557467"/>
                    <a:gd name="connsiteX16" fmla="*/ 31389 w 607639"/>
                    <a:gd name="connsiteY16" fmla="*/ 449854 h 557467"/>
                    <a:gd name="connsiteX17" fmla="*/ 29335 w 607639"/>
                    <a:gd name="connsiteY17" fmla="*/ 449854 h 557467"/>
                    <a:gd name="connsiteX18" fmla="*/ 0 w 607639"/>
                    <a:gd name="connsiteY18" fmla="*/ 420565 h 557467"/>
                    <a:gd name="connsiteX19" fmla="*/ 151811 w 607639"/>
                    <a:gd name="connsiteY19" fmla="*/ 268995 h 557467"/>
                    <a:gd name="connsiteX20" fmla="*/ 462556 w 607639"/>
                    <a:gd name="connsiteY20" fmla="*/ 35000 h 557467"/>
                    <a:gd name="connsiteX21" fmla="*/ 543847 w 607639"/>
                    <a:gd name="connsiteY21" fmla="*/ 122571 h 557467"/>
                    <a:gd name="connsiteX22" fmla="*/ 462556 w 607639"/>
                    <a:gd name="connsiteY22" fmla="*/ 210143 h 557467"/>
                    <a:gd name="connsiteX23" fmla="*/ 485153 w 607639"/>
                    <a:gd name="connsiteY23" fmla="*/ 122571 h 557467"/>
                    <a:gd name="connsiteX24" fmla="*/ 462556 w 607639"/>
                    <a:gd name="connsiteY24" fmla="*/ 35000 h 557467"/>
                    <a:gd name="connsiteX25" fmla="*/ 145224 w 607639"/>
                    <a:gd name="connsiteY25" fmla="*/ 35000 h 557467"/>
                    <a:gd name="connsiteX26" fmla="*/ 122481 w 607639"/>
                    <a:gd name="connsiteY26" fmla="*/ 122571 h 557467"/>
                    <a:gd name="connsiteX27" fmla="*/ 145224 w 607639"/>
                    <a:gd name="connsiteY27" fmla="*/ 210143 h 557467"/>
                    <a:gd name="connsiteX28" fmla="*/ 63791 w 607639"/>
                    <a:gd name="connsiteY28" fmla="*/ 122571 h 557467"/>
                    <a:gd name="connsiteX29" fmla="*/ 145224 w 607639"/>
                    <a:gd name="connsiteY29" fmla="*/ 35000 h 557467"/>
                    <a:gd name="connsiteX30" fmla="*/ 303892 w 607639"/>
                    <a:gd name="connsiteY30" fmla="*/ 0 h 557467"/>
                    <a:gd name="connsiteX31" fmla="*/ 403912 w 607639"/>
                    <a:gd name="connsiteY31" fmla="*/ 51694 h 557467"/>
                    <a:gd name="connsiteX32" fmla="*/ 426497 w 607639"/>
                    <a:gd name="connsiteY32" fmla="*/ 122572 h 557467"/>
                    <a:gd name="connsiteX33" fmla="*/ 403912 w 607639"/>
                    <a:gd name="connsiteY33" fmla="*/ 193450 h 557467"/>
                    <a:gd name="connsiteX34" fmla="*/ 303892 w 607639"/>
                    <a:gd name="connsiteY34" fmla="*/ 245144 h 557467"/>
                    <a:gd name="connsiteX35" fmla="*/ 181141 w 607639"/>
                    <a:gd name="connsiteY35" fmla="*/ 122572 h 557467"/>
                    <a:gd name="connsiteX36" fmla="*/ 303892 w 607639"/>
                    <a:gd name="connsiteY36" fmla="*/ 0 h 5574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607639" h="557467">
                      <a:moveTo>
                        <a:pt x="303857" y="303714"/>
                      </a:moveTo>
                      <a:cubicBezTo>
                        <a:pt x="320722" y="303714"/>
                        <a:pt x="337148" y="305618"/>
                        <a:pt x="352986" y="309132"/>
                      </a:cubicBezTo>
                      <a:cubicBezTo>
                        <a:pt x="427486" y="325824"/>
                        <a:pt x="488200" y="379562"/>
                        <a:pt x="514597" y="449845"/>
                      </a:cubicBezTo>
                      <a:cubicBezTo>
                        <a:pt x="523690" y="474298"/>
                        <a:pt x="528676" y="500655"/>
                        <a:pt x="528676" y="528182"/>
                      </a:cubicBezTo>
                      <a:cubicBezTo>
                        <a:pt x="528676" y="544289"/>
                        <a:pt x="515477" y="557467"/>
                        <a:pt x="499345" y="557467"/>
                      </a:cubicBezTo>
                      <a:lnTo>
                        <a:pt x="108223" y="557467"/>
                      </a:lnTo>
                      <a:cubicBezTo>
                        <a:pt x="92091" y="557467"/>
                        <a:pt x="78892" y="544289"/>
                        <a:pt x="78892" y="528182"/>
                      </a:cubicBezTo>
                      <a:cubicBezTo>
                        <a:pt x="78892" y="404307"/>
                        <a:pt x="179789" y="303714"/>
                        <a:pt x="303857" y="303714"/>
                      </a:cubicBezTo>
                      <a:close/>
                      <a:moveTo>
                        <a:pt x="455825" y="268995"/>
                      </a:moveTo>
                      <a:cubicBezTo>
                        <a:pt x="539579" y="268995"/>
                        <a:pt x="607639" y="336945"/>
                        <a:pt x="607639" y="420565"/>
                      </a:cubicBezTo>
                      <a:cubicBezTo>
                        <a:pt x="607639" y="436674"/>
                        <a:pt x="594584" y="449854"/>
                        <a:pt x="578303" y="449854"/>
                      </a:cubicBezTo>
                      <a:lnTo>
                        <a:pt x="576396" y="449854"/>
                      </a:lnTo>
                      <a:cubicBezTo>
                        <a:pt x="553661" y="371360"/>
                        <a:pt x="497775" y="306631"/>
                        <a:pt x="424875" y="272217"/>
                      </a:cubicBezTo>
                      <a:cubicBezTo>
                        <a:pt x="434996" y="270020"/>
                        <a:pt x="445410" y="268995"/>
                        <a:pt x="455825" y="268995"/>
                      </a:cubicBezTo>
                      <a:close/>
                      <a:moveTo>
                        <a:pt x="151811" y="268995"/>
                      </a:moveTo>
                      <a:cubicBezTo>
                        <a:pt x="162371" y="268995"/>
                        <a:pt x="172785" y="270020"/>
                        <a:pt x="182906" y="272217"/>
                      </a:cubicBezTo>
                      <a:cubicBezTo>
                        <a:pt x="110008" y="306631"/>
                        <a:pt x="53977" y="371360"/>
                        <a:pt x="31389" y="449854"/>
                      </a:cubicBezTo>
                      <a:lnTo>
                        <a:pt x="29335" y="449854"/>
                      </a:lnTo>
                      <a:cubicBezTo>
                        <a:pt x="13201" y="449854"/>
                        <a:pt x="0" y="436674"/>
                        <a:pt x="0" y="420565"/>
                      </a:cubicBezTo>
                      <a:cubicBezTo>
                        <a:pt x="0" y="336945"/>
                        <a:pt x="68058" y="268995"/>
                        <a:pt x="151811" y="268995"/>
                      </a:cubicBezTo>
                      <a:close/>
                      <a:moveTo>
                        <a:pt x="462556" y="35000"/>
                      </a:moveTo>
                      <a:cubicBezTo>
                        <a:pt x="507897" y="38368"/>
                        <a:pt x="543847" y="76296"/>
                        <a:pt x="543847" y="122571"/>
                      </a:cubicBezTo>
                      <a:cubicBezTo>
                        <a:pt x="543847" y="168847"/>
                        <a:pt x="507897" y="206775"/>
                        <a:pt x="462556" y="210143"/>
                      </a:cubicBezTo>
                      <a:cubicBezTo>
                        <a:pt x="476936" y="184223"/>
                        <a:pt x="485153" y="154349"/>
                        <a:pt x="485153" y="122571"/>
                      </a:cubicBezTo>
                      <a:cubicBezTo>
                        <a:pt x="485153" y="90794"/>
                        <a:pt x="476936" y="60920"/>
                        <a:pt x="462556" y="35000"/>
                      </a:cubicBezTo>
                      <a:close/>
                      <a:moveTo>
                        <a:pt x="145224" y="35000"/>
                      </a:moveTo>
                      <a:cubicBezTo>
                        <a:pt x="130698" y="60920"/>
                        <a:pt x="122481" y="90794"/>
                        <a:pt x="122481" y="122571"/>
                      </a:cubicBezTo>
                      <a:cubicBezTo>
                        <a:pt x="122481" y="154349"/>
                        <a:pt x="130698" y="184223"/>
                        <a:pt x="145224" y="210143"/>
                      </a:cubicBezTo>
                      <a:cubicBezTo>
                        <a:pt x="99739" y="206775"/>
                        <a:pt x="63791" y="168847"/>
                        <a:pt x="63791" y="122571"/>
                      </a:cubicBezTo>
                      <a:cubicBezTo>
                        <a:pt x="63791" y="76296"/>
                        <a:pt x="99739" y="38368"/>
                        <a:pt x="145224" y="35000"/>
                      </a:cubicBezTo>
                      <a:close/>
                      <a:moveTo>
                        <a:pt x="303892" y="0"/>
                      </a:moveTo>
                      <a:cubicBezTo>
                        <a:pt x="345103" y="0"/>
                        <a:pt x="381620" y="20502"/>
                        <a:pt x="403912" y="51694"/>
                      </a:cubicBezTo>
                      <a:cubicBezTo>
                        <a:pt x="418138" y="71756"/>
                        <a:pt x="426497" y="96212"/>
                        <a:pt x="426497" y="122572"/>
                      </a:cubicBezTo>
                      <a:cubicBezTo>
                        <a:pt x="426497" y="148931"/>
                        <a:pt x="418138" y="173387"/>
                        <a:pt x="403912" y="193450"/>
                      </a:cubicBezTo>
                      <a:cubicBezTo>
                        <a:pt x="381620" y="224642"/>
                        <a:pt x="345103" y="245144"/>
                        <a:pt x="303892" y="245144"/>
                      </a:cubicBezTo>
                      <a:cubicBezTo>
                        <a:pt x="236137" y="245144"/>
                        <a:pt x="181141" y="190082"/>
                        <a:pt x="181141" y="122572"/>
                      </a:cubicBezTo>
                      <a:cubicBezTo>
                        <a:pt x="181141" y="55062"/>
                        <a:pt x="236137" y="0"/>
                        <a:pt x="303892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/>
                <a:lstStyle/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44" name="组合 43">
                <a:extLst>
                  <a:ext uri="{FF2B5EF4-FFF2-40B4-BE49-F238E27FC236}">
                    <a16:creationId xmlns:a16="http://schemas.microsoft.com/office/drawing/2014/main" id="{2EB3597E-D000-4A5B-843E-FF7A0013684A}"/>
                  </a:ext>
                </a:extLst>
              </p:cNvPr>
              <p:cNvGrpSpPr/>
              <p:nvPr/>
            </p:nvGrpSpPr>
            <p:grpSpPr>
              <a:xfrm>
                <a:off x="673100" y="1339864"/>
                <a:ext cx="1910608" cy="1030224"/>
                <a:chOff x="5875776" y="1130300"/>
                <a:chExt cx="1910608" cy="1030224"/>
              </a:xfrm>
            </p:grpSpPr>
            <p:sp>
              <p:nvSpPr>
                <p:cNvPr id="45" name="矩形 44">
                  <a:extLst>
                    <a:ext uri="{FF2B5EF4-FFF2-40B4-BE49-F238E27FC236}">
                      <a16:creationId xmlns:a16="http://schemas.microsoft.com/office/drawing/2014/main" id="{212C9FB6-F3DF-4811-BDFC-982A44FD8B5B}"/>
                    </a:ext>
                  </a:extLst>
                </p:cNvPr>
                <p:cNvSpPr/>
                <p:nvPr/>
              </p:nvSpPr>
              <p:spPr bwMode="auto">
                <a:xfrm>
                  <a:off x="5875776" y="1130300"/>
                  <a:ext cx="1910608" cy="392113"/>
                </a:xfrm>
                <a:prstGeom prst="rect">
                  <a:avLst/>
                </a:prstGeom>
                <a:noFill/>
                <a:ln w="28575" algn="ctr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 algn="ctr" defTabSz="914378">
                    <a:defRPr/>
                  </a:pPr>
                  <a:r>
                    <a:rPr lang="en-US" altLang="zh-CN" sz="1800" b="1" dirty="0">
                      <a:cs typeface="+mn-ea"/>
                      <a:sym typeface="+mn-lt"/>
                    </a:rPr>
                    <a:t>APP</a:t>
                  </a:r>
                  <a:r>
                    <a:rPr lang="zh-CN" altLang="en-US" sz="1800" b="1" dirty="0">
                      <a:cs typeface="+mn-ea"/>
                      <a:sym typeface="+mn-lt"/>
                    </a:rPr>
                    <a:t>标识生成</a:t>
                  </a:r>
                </a:p>
              </p:txBody>
            </p:sp>
            <p:sp>
              <p:nvSpPr>
                <p:cNvPr id="46" name="矩形 45">
                  <a:extLst>
                    <a:ext uri="{FF2B5EF4-FFF2-40B4-BE49-F238E27FC236}">
                      <a16:creationId xmlns:a16="http://schemas.microsoft.com/office/drawing/2014/main" id="{ED126A44-D434-4B65-8807-6829D15AD177}"/>
                    </a:ext>
                  </a:extLst>
                </p:cNvPr>
                <p:cNvSpPr/>
                <p:nvPr/>
              </p:nvSpPr>
              <p:spPr>
                <a:xfrm>
                  <a:off x="5875776" y="1522413"/>
                  <a:ext cx="1910608" cy="63811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marL="0" indent="0" algn="l"/>
                  <a:r>
                    <a:rPr lang="en-US" altLang="zh-CN" sz="1000" dirty="0">
                      <a:effectLst/>
                    </a:rPr>
                    <a:t>APP</a:t>
                  </a:r>
                  <a:r>
                    <a:rPr lang="zh-CN" altLang="en-US" sz="1000" dirty="0">
                      <a:effectLst/>
                    </a:rPr>
                    <a:t>标识不通过类型可以重复</a:t>
                  </a:r>
                </a:p>
              </p:txBody>
            </p:sp>
          </p:grpSp>
        </p:grp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0C7BBE3F-139D-49A4-9378-E73D0CDC665E}"/>
                </a:ext>
              </a:extLst>
            </p:cNvPr>
            <p:cNvGrpSpPr/>
            <p:nvPr/>
          </p:nvGrpSpPr>
          <p:grpSpPr>
            <a:xfrm>
              <a:off x="614716" y="2722059"/>
              <a:ext cx="2795235" cy="1233421"/>
              <a:chOff x="614716" y="1336682"/>
              <a:chExt cx="2795235" cy="1233421"/>
            </a:xfrm>
          </p:grpSpPr>
          <p:grpSp>
            <p:nvGrpSpPr>
              <p:cNvPr id="37" name="组合 36">
                <a:extLst>
                  <a:ext uri="{FF2B5EF4-FFF2-40B4-BE49-F238E27FC236}">
                    <a16:creationId xmlns:a16="http://schemas.microsoft.com/office/drawing/2014/main" id="{2D138EA0-B987-42CB-895F-D87592690BDD}"/>
                  </a:ext>
                </a:extLst>
              </p:cNvPr>
              <p:cNvGrpSpPr/>
              <p:nvPr/>
            </p:nvGrpSpPr>
            <p:grpSpPr>
              <a:xfrm>
                <a:off x="2647463" y="1336682"/>
                <a:ext cx="762488" cy="762486"/>
                <a:chOff x="669925" y="1181875"/>
                <a:chExt cx="546847" cy="546847"/>
              </a:xfrm>
            </p:grpSpPr>
            <p:sp>
              <p:nvSpPr>
                <p:cNvPr id="41" name="椭圆 40">
                  <a:extLst>
                    <a:ext uri="{FF2B5EF4-FFF2-40B4-BE49-F238E27FC236}">
                      <a16:creationId xmlns:a16="http://schemas.microsoft.com/office/drawing/2014/main" id="{F43089DB-234F-47A4-A829-70C6CE3F3CE4}"/>
                    </a:ext>
                  </a:extLst>
                </p:cNvPr>
                <p:cNvSpPr/>
                <p:nvPr/>
              </p:nvSpPr>
              <p:spPr>
                <a:xfrm>
                  <a:off x="669925" y="1181875"/>
                  <a:ext cx="546847" cy="546847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rmAutofit/>
                </a:bodyPr>
                <a:lstStyle/>
                <a:p>
                  <a:pPr algn="ctr"/>
                  <a:endParaRPr lang="zh-CN" altLang="en-US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42" name="任意多边形: 形状 41">
                  <a:extLst>
                    <a:ext uri="{FF2B5EF4-FFF2-40B4-BE49-F238E27FC236}">
                      <a16:creationId xmlns:a16="http://schemas.microsoft.com/office/drawing/2014/main" id="{E03751C1-769B-40DF-B1C9-4F1F692C0BBB}"/>
                    </a:ext>
                  </a:extLst>
                </p:cNvPr>
                <p:cNvSpPr/>
                <p:nvPr/>
              </p:nvSpPr>
              <p:spPr bwMode="auto">
                <a:xfrm>
                  <a:off x="800847" y="1324564"/>
                  <a:ext cx="285004" cy="261470"/>
                </a:xfrm>
                <a:custGeom>
                  <a:avLst/>
                  <a:gdLst>
                    <a:gd name="connsiteX0" fmla="*/ 303857 w 607639"/>
                    <a:gd name="connsiteY0" fmla="*/ 303714 h 557467"/>
                    <a:gd name="connsiteX1" fmla="*/ 352986 w 607639"/>
                    <a:gd name="connsiteY1" fmla="*/ 309132 h 557467"/>
                    <a:gd name="connsiteX2" fmla="*/ 514597 w 607639"/>
                    <a:gd name="connsiteY2" fmla="*/ 449845 h 557467"/>
                    <a:gd name="connsiteX3" fmla="*/ 528676 w 607639"/>
                    <a:gd name="connsiteY3" fmla="*/ 528182 h 557467"/>
                    <a:gd name="connsiteX4" fmla="*/ 499345 w 607639"/>
                    <a:gd name="connsiteY4" fmla="*/ 557467 h 557467"/>
                    <a:gd name="connsiteX5" fmla="*/ 108223 w 607639"/>
                    <a:gd name="connsiteY5" fmla="*/ 557467 h 557467"/>
                    <a:gd name="connsiteX6" fmla="*/ 78892 w 607639"/>
                    <a:gd name="connsiteY6" fmla="*/ 528182 h 557467"/>
                    <a:gd name="connsiteX7" fmla="*/ 303857 w 607639"/>
                    <a:gd name="connsiteY7" fmla="*/ 303714 h 557467"/>
                    <a:gd name="connsiteX8" fmla="*/ 455825 w 607639"/>
                    <a:gd name="connsiteY8" fmla="*/ 268995 h 557467"/>
                    <a:gd name="connsiteX9" fmla="*/ 607639 w 607639"/>
                    <a:gd name="connsiteY9" fmla="*/ 420565 h 557467"/>
                    <a:gd name="connsiteX10" fmla="*/ 578303 w 607639"/>
                    <a:gd name="connsiteY10" fmla="*/ 449854 h 557467"/>
                    <a:gd name="connsiteX11" fmla="*/ 576396 w 607639"/>
                    <a:gd name="connsiteY11" fmla="*/ 449854 h 557467"/>
                    <a:gd name="connsiteX12" fmla="*/ 424875 w 607639"/>
                    <a:gd name="connsiteY12" fmla="*/ 272217 h 557467"/>
                    <a:gd name="connsiteX13" fmla="*/ 455825 w 607639"/>
                    <a:gd name="connsiteY13" fmla="*/ 268995 h 557467"/>
                    <a:gd name="connsiteX14" fmla="*/ 151811 w 607639"/>
                    <a:gd name="connsiteY14" fmla="*/ 268995 h 557467"/>
                    <a:gd name="connsiteX15" fmla="*/ 182906 w 607639"/>
                    <a:gd name="connsiteY15" fmla="*/ 272217 h 557467"/>
                    <a:gd name="connsiteX16" fmla="*/ 31389 w 607639"/>
                    <a:gd name="connsiteY16" fmla="*/ 449854 h 557467"/>
                    <a:gd name="connsiteX17" fmla="*/ 29335 w 607639"/>
                    <a:gd name="connsiteY17" fmla="*/ 449854 h 557467"/>
                    <a:gd name="connsiteX18" fmla="*/ 0 w 607639"/>
                    <a:gd name="connsiteY18" fmla="*/ 420565 h 557467"/>
                    <a:gd name="connsiteX19" fmla="*/ 151811 w 607639"/>
                    <a:gd name="connsiteY19" fmla="*/ 268995 h 557467"/>
                    <a:gd name="connsiteX20" fmla="*/ 462556 w 607639"/>
                    <a:gd name="connsiteY20" fmla="*/ 35000 h 557467"/>
                    <a:gd name="connsiteX21" fmla="*/ 543847 w 607639"/>
                    <a:gd name="connsiteY21" fmla="*/ 122571 h 557467"/>
                    <a:gd name="connsiteX22" fmla="*/ 462556 w 607639"/>
                    <a:gd name="connsiteY22" fmla="*/ 210143 h 557467"/>
                    <a:gd name="connsiteX23" fmla="*/ 485153 w 607639"/>
                    <a:gd name="connsiteY23" fmla="*/ 122571 h 557467"/>
                    <a:gd name="connsiteX24" fmla="*/ 462556 w 607639"/>
                    <a:gd name="connsiteY24" fmla="*/ 35000 h 557467"/>
                    <a:gd name="connsiteX25" fmla="*/ 145224 w 607639"/>
                    <a:gd name="connsiteY25" fmla="*/ 35000 h 557467"/>
                    <a:gd name="connsiteX26" fmla="*/ 122481 w 607639"/>
                    <a:gd name="connsiteY26" fmla="*/ 122571 h 557467"/>
                    <a:gd name="connsiteX27" fmla="*/ 145224 w 607639"/>
                    <a:gd name="connsiteY27" fmla="*/ 210143 h 557467"/>
                    <a:gd name="connsiteX28" fmla="*/ 63791 w 607639"/>
                    <a:gd name="connsiteY28" fmla="*/ 122571 h 557467"/>
                    <a:gd name="connsiteX29" fmla="*/ 145224 w 607639"/>
                    <a:gd name="connsiteY29" fmla="*/ 35000 h 557467"/>
                    <a:gd name="connsiteX30" fmla="*/ 303892 w 607639"/>
                    <a:gd name="connsiteY30" fmla="*/ 0 h 557467"/>
                    <a:gd name="connsiteX31" fmla="*/ 403912 w 607639"/>
                    <a:gd name="connsiteY31" fmla="*/ 51694 h 557467"/>
                    <a:gd name="connsiteX32" fmla="*/ 426497 w 607639"/>
                    <a:gd name="connsiteY32" fmla="*/ 122572 h 557467"/>
                    <a:gd name="connsiteX33" fmla="*/ 403912 w 607639"/>
                    <a:gd name="connsiteY33" fmla="*/ 193450 h 557467"/>
                    <a:gd name="connsiteX34" fmla="*/ 303892 w 607639"/>
                    <a:gd name="connsiteY34" fmla="*/ 245144 h 557467"/>
                    <a:gd name="connsiteX35" fmla="*/ 181141 w 607639"/>
                    <a:gd name="connsiteY35" fmla="*/ 122572 h 557467"/>
                    <a:gd name="connsiteX36" fmla="*/ 303892 w 607639"/>
                    <a:gd name="connsiteY36" fmla="*/ 0 h 5574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607639" h="557467">
                      <a:moveTo>
                        <a:pt x="303857" y="303714"/>
                      </a:moveTo>
                      <a:cubicBezTo>
                        <a:pt x="320722" y="303714"/>
                        <a:pt x="337148" y="305618"/>
                        <a:pt x="352986" y="309132"/>
                      </a:cubicBezTo>
                      <a:cubicBezTo>
                        <a:pt x="427486" y="325824"/>
                        <a:pt x="488200" y="379562"/>
                        <a:pt x="514597" y="449845"/>
                      </a:cubicBezTo>
                      <a:cubicBezTo>
                        <a:pt x="523690" y="474298"/>
                        <a:pt x="528676" y="500655"/>
                        <a:pt x="528676" y="528182"/>
                      </a:cubicBezTo>
                      <a:cubicBezTo>
                        <a:pt x="528676" y="544289"/>
                        <a:pt x="515477" y="557467"/>
                        <a:pt x="499345" y="557467"/>
                      </a:cubicBezTo>
                      <a:lnTo>
                        <a:pt x="108223" y="557467"/>
                      </a:lnTo>
                      <a:cubicBezTo>
                        <a:pt x="92091" y="557467"/>
                        <a:pt x="78892" y="544289"/>
                        <a:pt x="78892" y="528182"/>
                      </a:cubicBezTo>
                      <a:cubicBezTo>
                        <a:pt x="78892" y="404307"/>
                        <a:pt x="179789" y="303714"/>
                        <a:pt x="303857" y="303714"/>
                      </a:cubicBezTo>
                      <a:close/>
                      <a:moveTo>
                        <a:pt x="455825" y="268995"/>
                      </a:moveTo>
                      <a:cubicBezTo>
                        <a:pt x="539579" y="268995"/>
                        <a:pt x="607639" y="336945"/>
                        <a:pt x="607639" y="420565"/>
                      </a:cubicBezTo>
                      <a:cubicBezTo>
                        <a:pt x="607639" y="436674"/>
                        <a:pt x="594584" y="449854"/>
                        <a:pt x="578303" y="449854"/>
                      </a:cubicBezTo>
                      <a:lnTo>
                        <a:pt x="576396" y="449854"/>
                      </a:lnTo>
                      <a:cubicBezTo>
                        <a:pt x="553661" y="371360"/>
                        <a:pt x="497775" y="306631"/>
                        <a:pt x="424875" y="272217"/>
                      </a:cubicBezTo>
                      <a:cubicBezTo>
                        <a:pt x="434996" y="270020"/>
                        <a:pt x="445410" y="268995"/>
                        <a:pt x="455825" y="268995"/>
                      </a:cubicBezTo>
                      <a:close/>
                      <a:moveTo>
                        <a:pt x="151811" y="268995"/>
                      </a:moveTo>
                      <a:cubicBezTo>
                        <a:pt x="162371" y="268995"/>
                        <a:pt x="172785" y="270020"/>
                        <a:pt x="182906" y="272217"/>
                      </a:cubicBezTo>
                      <a:cubicBezTo>
                        <a:pt x="110008" y="306631"/>
                        <a:pt x="53977" y="371360"/>
                        <a:pt x="31389" y="449854"/>
                      </a:cubicBezTo>
                      <a:lnTo>
                        <a:pt x="29335" y="449854"/>
                      </a:lnTo>
                      <a:cubicBezTo>
                        <a:pt x="13201" y="449854"/>
                        <a:pt x="0" y="436674"/>
                        <a:pt x="0" y="420565"/>
                      </a:cubicBezTo>
                      <a:cubicBezTo>
                        <a:pt x="0" y="336945"/>
                        <a:pt x="68058" y="268995"/>
                        <a:pt x="151811" y="268995"/>
                      </a:cubicBezTo>
                      <a:close/>
                      <a:moveTo>
                        <a:pt x="462556" y="35000"/>
                      </a:moveTo>
                      <a:cubicBezTo>
                        <a:pt x="507897" y="38368"/>
                        <a:pt x="543847" y="76296"/>
                        <a:pt x="543847" y="122571"/>
                      </a:cubicBezTo>
                      <a:cubicBezTo>
                        <a:pt x="543847" y="168847"/>
                        <a:pt x="507897" y="206775"/>
                        <a:pt x="462556" y="210143"/>
                      </a:cubicBezTo>
                      <a:cubicBezTo>
                        <a:pt x="476936" y="184223"/>
                        <a:pt x="485153" y="154349"/>
                        <a:pt x="485153" y="122571"/>
                      </a:cubicBezTo>
                      <a:cubicBezTo>
                        <a:pt x="485153" y="90794"/>
                        <a:pt x="476936" y="60920"/>
                        <a:pt x="462556" y="35000"/>
                      </a:cubicBezTo>
                      <a:close/>
                      <a:moveTo>
                        <a:pt x="145224" y="35000"/>
                      </a:moveTo>
                      <a:cubicBezTo>
                        <a:pt x="130698" y="60920"/>
                        <a:pt x="122481" y="90794"/>
                        <a:pt x="122481" y="122571"/>
                      </a:cubicBezTo>
                      <a:cubicBezTo>
                        <a:pt x="122481" y="154349"/>
                        <a:pt x="130698" y="184223"/>
                        <a:pt x="145224" y="210143"/>
                      </a:cubicBezTo>
                      <a:cubicBezTo>
                        <a:pt x="99739" y="206775"/>
                        <a:pt x="63791" y="168847"/>
                        <a:pt x="63791" y="122571"/>
                      </a:cubicBezTo>
                      <a:cubicBezTo>
                        <a:pt x="63791" y="76296"/>
                        <a:pt x="99739" y="38368"/>
                        <a:pt x="145224" y="35000"/>
                      </a:cubicBezTo>
                      <a:close/>
                      <a:moveTo>
                        <a:pt x="303892" y="0"/>
                      </a:moveTo>
                      <a:cubicBezTo>
                        <a:pt x="345103" y="0"/>
                        <a:pt x="381620" y="20502"/>
                        <a:pt x="403912" y="51694"/>
                      </a:cubicBezTo>
                      <a:cubicBezTo>
                        <a:pt x="418138" y="71756"/>
                        <a:pt x="426497" y="96212"/>
                        <a:pt x="426497" y="122572"/>
                      </a:cubicBezTo>
                      <a:cubicBezTo>
                        <a:pt x="426497" y="148931"/>
                        <a:pt x="418138" y="173387"/>
                        <a:pt x="403912" y="193450"/>
                      </a:cubicBezTo>
                      <a:cubicBezTo>
                        <a:pt x="381620" y="224642"/>
                        <a:pt x="345103" y="245144"/>
                        <a:pt x="303892" y="245144"/>
                      </a:cubicBezTo>
                      <a:cubicBezTo>
                        <a:pt x="236137" y="245144"/>
                        <a:pt x="181141" y="190082"/>
                        <a:pt x="181141" y="122572"/>
                      </a:cubicBezTo>
                      <a:cubicBezTo>
                        <a:pt x="181141" y="55062"/>
                        <a:pt x="236137" y="0"/>
                        <a:pt x="303892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/>
                <a:lstStyle/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38" name="组合 37">
                <a:extLst>
                  <a:ext uri="{FF2B5EF4-FFF2-40B4-BE49-F238E27FC236}">
                    <a16:creationId xmlns:a16="http://schemas.microsoft.com/office/drawing/2014/main" id="{22F4C8A3-8377-44B2-9165-FBBBEEE47675}"/>
                  </a:ext>
                </a:extLst>
              </p:cNvPr>
              <p:cNvGrpSpPr/>
              <p:nvPr/>
            </p:nvGrpSpPr>
            <p:grpSpPr>
              <a:xfrm>
                <a:off x="614716" y="1339864"/>
                <a:ext cx="2244536" cy="1230239"/>
                <a:chOff x="5817392" y="1130300"/>
                <a:chExt cx="2244536" cy="1230239"/>
              </a:xfrm>
            </p:grpSpPr>
            <p:sp>
              <p:nvSpPr>
                <p:cNvPr id="39" name="矩形 38">
                  <a:extLst>
                    <a:ext uri="{FF2B5EF4-FFF2-40B4-BE49-F238E27FC236}">
                      <a16:creationId xmlns:a16="http://schemas.microsoft.com/office/drawing/2014/main" id="{BC717764-3B25-4882-8CC7-BB7F7D02F9A7}"/>
                    </a:ext>
                  </a:extLst>
                </p:cNvPr>
                <p:cNvSpPr/>
                <p:nvPr/>
              </p:nvSpPr>
              <p:spPr bwMode="auto">
                <a:xfrm>
                  <a:off x="6151320" y="1130300"/>
                  <a:ext cx="1910608" cy="392113"/>
                </a:xfrm>
                <a:prstGeom prst="rect">
                  <a:avLst/>
                </a:prstGeom>
                <a:noFill/>
                <a:ln w="28575" algn="ctr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 algn="ctr" defTabSz="914378">
                    <a:defRPr/>
                  </a:pPr>
                  <a:r>
                    <a:rPr lang="zh-CN" altLang="en-US" sz="1800" b="1" dirty="0">
                      <a:cs typeface="+mn-ea"/>
                      <a:sym typeface="+mn-lt"/>
                    </a:rPr>
                    <a:t>更换模板</a:t>
                  </a:r>
                </a:p>
              </p:txBody>
            </p:sp>
            <p:sp>
              <p:nvSpPr>
                <p:cNvPr id="40" name="矩形 39">
                  <a:extLst>
                    <a:ext uri="{FF2B5EF4-FFF2-40B4-BE49-F238E27FC236}">
                      <a16:creationId xmlns:a16="http://schemas.microsoft.com/office/drawing/2014/main" id="{09F694BC-FE72-4AF5-9F7D-5F6A6C210ABD}"/>
                    </a:ext>
                  </a:extLst>
                </p:cNvPr>
                <p:cNvSpPr/>
                <p:nvPr/>
              </p:nvSpPr>
              <p:spPr>
                <a:xfrm>
                  <a:off x="5817392" y="1468512"/>
                  <a:ext cx="1974363" cy="892027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>
                  <a:normAutofit fontScale="85000" lnSpcReduction="20000"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 algn="r">
                    <a:lnSpc>
                      <a:spcPct val="150000"/>
                    </a:lnSpc>
                  </a:pPr>
                  <a:r>
                    <a:rPr lang="zh-CN" altLang="en-US" sz="18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更换注册码下载</a:t>
                  </a:r>
                  <a:r>
                    <a:rPr lang="zh-CN" altLang="en-US" sz="16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模板</a:t>
                  </a:r>
                  <a:br>
                    <a:rPr lang="en-US" altLang="zh-CN" sz="18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</a:br>
                  <a:r>
                    <a:rPr lang="zh-CN" altLang="en-US" sz="18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更换</a:t>
                  </a:r>
                  <a:r>
                    <a:rPr lang="en-US" altLang="zh-CN" sz="18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ESAM</a:t>
                  </a:r>
                  <a:r>
                    <a:rPr lang="zh-CN" altLang="en-US" sz="18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上传模板</a:t>
                  </a:r>
                  <a:br>
                    <a:rPr lang="en-US" altLang="zh-CN" sz="11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</a:br>
                  <a:endPara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7348BD8D-5537-47A3-9F7E-1105E5992533}"/>
                </a:ext>
              </a:extLst>
            </p:cNvPr>
            <p:cNvGrpSpPr/>
            <p:nvPr/>
          </p:nvGrpSpPr>
          <p:grpSpPr>
            <a:xfrm>
              <a:off x="673100" y="4107436"/>
              <a:ext cx="2736851" cy="1990599"/>
              <a:chOff x="673100" y="1336682"/>
              <a:chExt cx="2736851" cy="1990599"/>
            </a:xfrm>
          </p:grpSpPr>
          <p:grpSp>
            <p:nvGrpSpPr>
              <p:cNvPr id="31" name="组合 30">
                <a:extLst>
                  <a:ext uri="{FF2B5EF4-FFF2-40B4-BE49-F238E27FC236}">
                    <a16:creationId xmlns:a16="http://schemas.microsoft.com/office/drawing/2014/main" id="{76A06202-BA45-474C-BCFA-5EC6D735F8EA}"/>
                  </a:ext>
                </a:extLst>
              </p:cNvPr>
              <p:cNvGrpSpPr/>
              <p:nvPr/>
            </p:nvGrpSpPr>
            <p:grpSpPr>
              <a:xfrm>
                <a:off x="2647463" y="1336682"/>
                <a:ext cx="762488" cy="762486"/>
                <a:chOff x="669925" y="1181875"/>
                <a:chExt cx="546847" cy="546847"/>
              </a:xfrm>
            </p:grpSpPr>
            <p:sp>
              <p:nvSpPr>
                <p:cNvPr id="35" name="椭圆 34">
                  <a:extLst>
                    <a:ext uri="{FF2B5EF4-FFF2-40B4-BE49-F238E27FC236}">
                      <a16:creationId xmlns:a16="http://schemas.microsoft.com/office/drawing/2014/main" id="{469F4741-0DF8-4DAA-BDDE-1085CC32AD8C}"/>
                    </a:ext>
                  </a:extLst>
                </p:cNvPr>
                <p:cNvSpPr/>
                <p:nvPr/>
              </p:nvSpPr>
              <p:spPr>
                <a:xfrm>
                  <a:off x="669925" y="1181875"/>
                  <a:ext cx="546847" cy="546847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rmAutofit/>
                </a:bodyPr>
                <a:lstStyle/>
                <a:p>
                  <a:pPr algn="ctr"/>
                  <a:endParaRPr lang="zh-CN" altLang="en-US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36" name="任意多边形: 形状 35">
                  <a:extLst>
                    <a:ext uri="{FF2B5EF4-FFF2-40B4-BE49-F238E27FC236}">
                      <a16:creationId xmlns:a16="http://schemas.microsoft.com/office/drawing/2014/main" id="{7C888A1F-10EF-4427-B1C8-74EF839F2688}"/>
                    </a:ext>
                  </a:extLst>
                </p:cNvPr>
                <p:cNvSpPr/>
                <p:nvPr/>
              </p:nvSpPr>
              <p:spPr bwMode="auto">
                <a:xfrm>
                  <a:off x="800847" y="1324564"/>
                  <a:ext cx="285004" cy="261470"/>
                </a:xfrm>
                <a:custGeom>
                  <a:avLst/>
                  <a:gdLst>
                    <a:gd name="connsiteX0" fmla="*/ 303857 w 607639"/>
                    <a:gd name="connsiteY0" fmla="*/ 303714 h 557467"/>
                    <a:gd name="connsiteX1" fmla="*/ 352986 w 607639"/>
                    <a:gd name="connsiteY1" fmla="*/ 309132 h 557467"/>
                    <a:gd name="connsiteX2" fmla="*/ 514597 w 607639"/>
                    <a:gd name="connsiteY2" fmla="*/ 449845 h 557467"/>
                    <a:gd name="connsiteX3" fmla="*/ 528676 w 607639"/>
                    <a:gd name="connsiteY3" fmla="*/ 528182 h 557467"/>
                    <a:gd name="connsiteX4" fmla="*/ 499345 w 607639"/>
                    <a:gd name="connsiteY4" fmla="*/ 557467 h 557467"/>
                    <a:gd name="connsiteX5" fmla="*/ 108223 w 607639"/>
                    <a:gd name="connsiteY5" fmla="*/ 557467 h 557467"/>
                    <a:gd name="connsiteX6" fmla="*/ 78892 w 607639"/>
                    <a:gd name="connsiteY6" fmla="*/ 528182 h 557467"/>
                    <a:gd name="connsiteX7" fmla="*/ 303857 w 607639"/>
                    <a:gd name="connsiteY7" fmla="*/ 303714 h 557467"/>
                    <a:gd name="connsiteX8" fmla="*/ 455825 w 607639"/>
                    <a:gd name="connsiteY8" fmla="*/ 268995 h 557467"/>
                    <a:gd name="connsiteX9" fmla="*/ 607639 w 607639"/>
                    <a:gd name="connsiteY9" fmla="*/ 420565 h 557467"/>
                    <a:gd name="connsiteX10" fmla="*/ 578303 w 607639"/>
                    <a:gd name="connsiteY10" fmla="*/ 449854 h 557467"/>
                    <a:gd name="connsiteX11" fmla="*/ 576396 w 607639"/>
                    <a:gd name="connsiteY11" fmla="*/ 449854 h 557467"/>
                    <a:gd name="connsiteX12" fmla="*/ 424875 w 607639"/>
                    <a:gd name="connsiteY12" fmla="*/ 272217 h 557467"/>
                    <a:gd name="connsiteX13" fmla="*/ 455825 w 607639"/>
                    <a:gd name="connsiteY13" fmla="*/ 268995 h 557467"/>
                    <a:gd name="connsiteX14" fmla="*/ 151811 w 607639"/>
                    <a:gd name="connsiteY14" fmla="*/ 268995 h 557467"/>
                    <a:gd name="connsiteX15" fmla="*/ 182906 w 607639"/>
                    <a:gd name="connsiteY15" fmla="*/ 272217 h 557467"/>
                    <a:gd name="connsiteX16" fmla="*/ 31389 w 607639"/>
                    <a:gd name="connsiteY16" fmla="*/ 449854 h 557467"/>
                    <a:gd name="connsiteX17" fmla="*/ 29335 w 607639"/>
                    <a:gd name="connsiteY17" fmla="*/ 449854 h 557467"/>
                    <a:gd name="connsiteX18" fmla="*/ 0 w 607639"/>
                    <a:gd name="connsiteY18" fmla="*/ 420565 h 557467"/>
                    <a:gd name="connsiteX19" fmla="*/ 151811 w 607639"/>
                    <a:gd name="connsiteY19" fmla="*/ 268995 h 557467"/>
                    <a:gd name="connsiteX20" fmla="*/ 462556 w 607639"/>
                    <a:gd name="connsiteY20" fmla="*/ 35000 h 557467"/>
                    <a:gd name="connsiteX21" fmla="*/ 543847 w 607639"/>
                    <a:gd name="connsiteY21" fmla="*/ 122571 h 557467"/>
                    <a:gd name="connsiteX22" fmla="*/ 462556 w 607639"/>
                    <a:gd name="connsiteY22" fmla="*/ 210143 h 557467"/>
                    <a:gd name="connsiteX23" fmla="*/ 485153 w 607639"/>
                    <a:gd name="connsiteY23" fmla="*/ 122571 h 557467"/>
                    <a:gd name="connsiteX24" fmla="*/ 462556 w 607639"/>
                    <a:gd name="connsiteY24" fmla="*/ 35000 h 557467"/>
                    <a:gd name="connsiteX25" fmla="*/ 145224 w 607639"/>
                    <a:gd name="connsiteY25" fmla="*/ 35000 h 557467"/>
                    <a:gd name="connsiteX26" fmla="*/ 122481 w 607639"/>
                    <a:gd name="connsiteY26" fmla="*/ 122571 h 557467"/>
                    <a:gd name="connsiteX27" fmla="*/ 145224 w 607639"/>
                    <a:gd name="connsiteY27" fmla="*/ 210143 h 557467"/>
                    <a:gd name="connsiteX28" fmla="*/ 63791 w 607639"/>
                    <a:gd name="connsiteY28" fmla="*/ 122571 h 557467"/>
                    <a:gd name="connsiteX29" fmla="*/ 145224 w 607639"/>
                    <a:gd name="connsiteY29" fmla="*/ 35000 h 557467"/>
                    <a:gd name="connsiteX30" fmla="*/ 303892 w 607639"/>
                    <a:gd name="connsiteY30" fmla="*/ 0 h 557467"/>
                    <a:gd name="connsiteX31" fmla="*/ 403912 w 607639"/>
                    <a:gd name="connsiteY31" fmla="*/ 51694 h 557467"/>
                    <a:gd name="connsiteX32" fmla="*/ 426497 w 607639"/>
                    <a:gd name="connsiteY32" fmla="*/ 122572 h 557467"/>
                    <a:gd name="connsiteX33" fmla="*/ 403912 w 607639"/>
                    <a:gd name="connsiteY33" fmla="*/ 193450 h 557467"/>
                    <a:gd name="connsiteX34" fmla="*/ 303892 w 607639"/>
                    <a:gd name="connsiteY34" fmla="*/ 245144 h 557467"/>
                    <a:gd name="connsiteX35" fmla="*/ 181141 w 607639"/>
                    <a:gd name="connsiteY35" fmla="*/ 122572 h 557467"/>
                    <a:gd name="connsiteX36" fmla="*/ 303892 w 607639"/>
                    <a:gd name="connsiteY36" fmla="*/ 0 h 5574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607639" h="557467">
                      <a:moveTo>
                        <a:pt x="303857" y="303714"/>
                      </a:moveTo>
                      <a:cubicBezTo>
                        <a:pt x="320722" y="303714"/>
                        <a:pt x="337148" y="305618"/>
                        <a:pt x="352986" y="309132"/>
                      </a:cubicBezTo>
                      <a:cubicBezTo>
                        <a:pt x="427486" y="325824"/>
                        <a:pt x="488200" y="379562"/>
                        <a:pt x="514597" y="449845"/>
                      </a:cubicBezTo>
                      <a:cubicBezTo>
                        <a:pt x="523690" y="474298"/>
                        <a:pt x="528676" y="500655"/>
                        <a:pt x="528676" y="528182"/>
                      </a:cubicBezTo>
                      <a:cubicBezTo>
                        <a:pt x="528676" y="544289"/>
                        <a:pt x="515477" y="557467"/>
                        <a:pt x="499345" y="557467"/>
                      </a:cubicBezTo>
                      <a:lnTo>
                        <a:pt x="108223" y="557467"/>
                      </a:lnTo>
                      <a:cubicBezTo>
                        <a:pt x="92091" y="557467"/>
                        <a:pt x="78892" y="544289"/>
                        <a:pt x="78892" y="528182"/>
                      </a:cubicBezTo>
                      <a:cubicBezTo>
                        <a:pt x="78892" y="404307"/>
                        <a:pt x="179789" y="303714"/>
                        <a:pt x="303857" y="303714"/>
                      </a:cubicBezTo>
                      <a:close/>
                      <a:moveTo>
                        <a:pt x="455825" y="268995"/>
                      </a:moveTo>
                      <a:cubicBezTo>
                        <a:pt x="539579" y="268995"/>
                        <a:pt x="607639" y="336945"/>
                        <a:pt x="607639" y="420565"/>
                      </a:cubicBezTo>
                      <a:cubicBezTo>
                        <a:pt x="607639" y="436674"/>
                        <a:pt x="594584" y="449854"/>
                        <a:pt x="578303" y="449854"/>
                      </a:cubicBezTo>
                      <a:lnTo>
                        <a:pt x="576396" y="449854"/>
                      </a:lnTo>
                      <a:cubicBezTo>
                        <a:pt x="553661" y="371360"/>
                        <a:pt x="497775" y="306631"/>
                        <a:pt x="424875" y="272217"/>
                      </a:cubicBezTo>
                      <a:cubicBezTo>
                        <a:pt x="434996" y="270020"/>
                        <a:pt x="445410" y="268995"/>
                        <a:pt x="455825" y="268995"/>
                      </a:cubicBezTo>
                      <a:close/>
                      <a:moveTo>
                        <a:pt x="151811" y="268995"/>
                      </a:moveTo>
                      <a:cubicBezTo>
                        <a:pt x="162371" y="268995"/>
                        <a:pt x="172785" y="270020"/>
                        <a:pt x="182906" y="272217"/>
                      </a:cubicBezTo>
                      <a:cubicBezTo>
                        <a:pt x="110008" y="306631"/>
                        <a:pt x="53977" y="371360"/>
                        <a:pt x="31389" y="449854"/>
                      </a:cubicBezTo>
                      <a:lnTo>
                        <a:pt x="29335" y="449854"/>
                      </a:lnTo>
                      <a:cubicBezTo>
                        <a:pt x="13201" y="449854"/>
                        <a:pt x="0" y="436674"/>
                        <a:pt x="0" y="420565"/>
                      </a:cubicBezTo>
                      <a:cubicBezTo>
                        <a:pt x="0" y="336945"/>
                        <a:pt x="68058" y="268995"/>
                        <a:pt x="151811" y="268995"/>
                      </a:cubicBezTo>
                      <a:close/>
                      <a:moveTo>
                        <a:pt x="462556" y="35000"/>
                      </a:moveTo>
                      <a:cubicBezTo>
                        <a:pt x="507897" y="38368"/>
                        <a:pt x="543847" y="76296"/>
                        <a:pt x="543847" y="122571"/>
                      </a:cubicBezTo>
                      <a:cubicBezTo>
                        <a:pt x="543847" y="168847"/>
                        <a:pt x="507897" y="206775"/>
                        <a:pt x="462556" y="210143"/>
                      </a:cubicBezTo>
                      <a:cubicBezTo>
                        <a:pt x="476936" y="184223"/>
                        <a:pt x="485153" y="154349"/>
                        <a:pt x="485153" y="122571"/>
                      </a:cubicBezTo>
                      <a:cubicBezTo>
                        <a:pt x="485153" y="90794"/>
                        <a:pt x="476936" y="60920"/>
                        <a:pt x="462556" y="35000"/>
                      </a:cubicBezTo>
                      <a:close/>
                      <a:moveTo>
                        <a:pt x="145224" y="35000"/>
                      </a:moveTo>
                      <a:cubicBezTo>
                        <a:pt x="130698" y="60920"/>
                        <a:pt x="122481" y="90794"/>
                        <a:pt x="122481" y="122571"/>
                      </a:cubicBezTo>
                      <a:cubicBezTo>
                        <a:pt x="122481" y="154349"/>
                        <a:pt x="130698" y="184223"/>
                        <a:pt x="145224" y="210143"/>
                      </a:cubicBezTo>
                      <a:cubicBezTo>
                        <a:pt x="99739" y="206775"/>
                        <a:pt x="63791" y="168847"/>
                        <a:pt x="63791" y="122571"/>
                      </a:cubicBezTo>
                      <a:cubicBezTo>
                        <a:pt x="63791" y="76296"/>
                        <a:pt x="99739" y="38368"/>
                        <a:pt x="145224" y="35000"/>
                      </a:cubicBezTo>
                      <a:close/>
                      <a:moveTo>
                        <a:pt x="303892" y="0"/>
                      </a:moveTo>
                      <a:cubicBezTo>
                        <a:pt x="345103" y="0"/>
                        <a:pt x="381620" y="20502"/>
                        <a:pt x="403912" y="51694"/>
                      </a:cubicBezTo>
                      <a:cubicBezTo>
                        <a:pt x="418138" y="71756"/>
                        <a:pt x="426497" y="96212"/>
                        <a:pt x="426497" y="122572"/>
                      </a:cubicBezTo>
                      <a:cubicBezTo>
                        <a:pt x="426497" y="148931"/>
                        <a:pt x="418138" y="173387"/>
                        <a:pt x="403912" y="193450"/>
                      </a:cubicBezTo>
                      <a:cubicBezTo>
                        <a:pt x="381620" y="224642"/>
                        <a:pt x="345103" y="245144"/>
                        <a:pt x="303892" y="245144"/>
                      </a:cubicBezTo>
                      <a:cubicBezTo>
                        <a:pt x="236137" y="245144"/>
                        <a:pt x="181141" y="190082"/>
                        <a:pt x="181141" y="122572"/>
                      </a:cubicBezTo>
                      <a:cubicBezTo>
                        <a:pt x="181141" y="55062"/>
                        <a:pt x="236137" y="0"/>
                        <a:pt x="303892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/>
                <a:lstStyle/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32" name="组合 31">
                <a:extLst>
                  <a:ext uri="{FF2B5EF4-FFF2-40B4-BE49-F238E27FC236}">
                    <a16:creationId xmlns:a16="http://schemas.microsoft.com/office/drawing/2014/main" id="{FCB5F828-B0FA-4D67-BF6E-C4A92D1A5211}"/>
                  </a:ext>
                </a:extLst>
              </p:cNvPr>
              <p:cNvGrpSpPr/>
              <p:nvPr/>
            </p:nvGrpSpPr>
            <p:grpSpPr>
              <a:xfrm>
                <a:off x="673100" y="1339864"/>
                <a:ext cx="1910608" cy="1987417"/>
                <a:chOff x="5875776" y="1130300"/>
                <a:chExt cx="1910608" cy="1987417"/>
              </a:xfrm>
            </p:grpSpPr>
            <p:sp>
              <p:nvSpPr>
                <p:cNvPr id="33" name="矩形 32">
                  <a:extLst>
                    <a:ext uri="{FF2B5EF4-FFF2-40B4-BE49-F238E27FC236}">
                      <a16:creationId xmlns:a16="http://schemas.microsoft.com/office/drawing/2014/main" id="{D60F80BD-3C73-4853-9166-D9A50F4533E3}"/>
                    </a:ext>
                  </a:extLst>
                </p:cNvPr>
                <p:cNvSpPr/>
                <p:nvPr/>
              </p:nvSpPr>
              <p:spPr bwMode="auto">
                <a:xfrm>
                  <a:off x="5875776" y="1130300"/>
                  <a:ext cx="1910608" cy="392113"/>
                </a:xfrm>
                <a:prstGeom prst="rect">
                  <a:avLst/>
                </a:prstGeom>
                <a:noFill/>
                <a:ln w="28575" algn="ctr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 defTabSz="914400"/>
                  <a:r>
                    <a:rPr lang="zh-CN" altLang="en-US" sz="1800" b="1" kern="0" dirty="0">
                      <a:cs typeface="+mn-ea"/>
                      <a:sym typeface="+mn-lt"/>
                    </a:rPr>
                    <a:t>批量操作</a:t>
                  </a:r>
                </a:p>
              </p:txBody>
            </p:sp>
            <p:sp>
              <p:nvSpPr>
                <p:cNvPr id="34" name="矩形 33">
                  <a:extLst>
                    <a:ext uri="{FF2B5EF4-FFF2-40B4-BE49-F238E27FC236}">
                      <a16:creationId xmlns:a16="http://schemas.microsoft.com/office/drawing/2014/main" id="{EDBCB0F9-794F-4FF8-B9DD-ABE545C71C64}"/>
                    </a:ext>
                  </a:extLst>
                </p:cNvPr>
                <p:cNvSpPr/>
                <p:nvPr/>
              </p:nvSpPr>
              <p:spPr>
                <a:xfrm>
                  <a:off x="5875776" y="1522413"/>
                  <a:ext cx="1910608" cy="159530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 algn="r">
                    <a:lnSpc>
                      <a:spcPct val="150000"/>
                    </a:lnSpc>
                  </a:pPr>
                  <a:r>
                    <a:rPr lang="zh-CN" altLang="en-US" sz="16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生成注册码</a:t>
                  </a:r>
                  <a:endParaRPr lang="en-US" altLang="zh-CN" sz="1600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  <a:p>
                  <a:pPr lvl="0" algn="r">
                    <a:lnSpc>
                      <a:spcPct val="150000"/>
                    </a:lnSpc>
                  </a:pPr>
                  <a:r>
                    <a:rPr lang="zh-CN" altLang="en-US" sz="16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上架申请</a:t>
                  </a:r>
                  <a:endParaRPr lang="en-US" altLang="zh-CN" sz="1600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  <a:p>
                  <a:pPr algn="r">
                    <a:lnSpc>
                      <a:spcPct val="150000"/>
                    </a:lnSpc>
                  </a:pPr>
                  <a:r>
                    <a:rPr lang="zh-CN" altLang="en-US" sz="16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试用审核</a:t>
                  </a:r>
                  <a:endParaRPr lang="en-US" altLang="zh-CN" sz="1600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  <a:p>
                  <a:pPr lvl="0" algn="r">
                    <a:lnSpc>
                      <a:spcPct val="150000"/>
                    </a:lnSpc>
                  </a:pPr>
                  <a:endPara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EA8BAE68-60BB-4E5D-9940-B0A95E15675B}"/>
                </a:ext>
              </a:extLst>
            </p:cNvPr>
            <p:cNvGrpSpPr/>
            <p:nvPr/>
          </p:nvGrpSpPr>
          <p:grpSpPr>
            <a:xfrm>
              <a:off x="8664844" y="2107301"/>
              <a:ext cx="2855644" cy="1033406"/>
              <a:chOff x="7222373" y="4107436"/>
              <a:chExt cx="2855644" cy="1033406"/>
            </a:xfrm>
          </p:grpSpPr>
          <p:grpSp>
            <p:nvGrpSpPr>
              <p:cNvPr id="25" name="组合 24">
                <a:extLst>
                  <a:ext uri="{FF2B5EF4-FFF2-40B4-BE49-F238E27FC236}">
                    <a16:creationId xmlns:a16="http://schemas.microsoft.com/office/drawing/2014/main" id="{3A9E3AA2-2AC4-40D8-837C-278F5A9533CC}"/>
                  </a:ext>
                </a:extLst>
              </p:cNvPr>
              <p:cNvGrpSpPr/>
              <p:nvPr/>
            </p:nvGrpSpPr>
            <p:grpSpPr>
              <a:xfrm>
                <a:off x="7222373" y="4107436"/>
                <a:ext cx="762488" cy="762486"/>
                <a:chOff x="669925" y="1181875"/>
                <a:chExt cx="546847" cy="546847"/>
              </a:xfrm>
            </p:grpSpPr>
            <p:sp>
              <p:nvSpPr>
                <p:cNvPr id="29" name="椭圆 28">
                  <a:extLst>
                    <a:ext uri="{FF2B5EF4-FFF2-40B4-BE49-F238E27FC236}">
                      <a16:creationId xmlns:a16="http://schemas.microsoft.com/office/drawing/2014/main" id="{5709985A-4032-43E5-B976-EA953E315157}"/>
                    </a:ext>
                  </a:extLst>
                </p:cNvPr>
                <p:cNvSpPr/>
                <p:nvPr/>
              </p:nvSpPr>
              <p:spPr>
                <a:xfrm>
                  <a:off x="669925" y="1181875"/>
                  <a:ext cx="546847" cy="546847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rmAutofit/>
                </a:bodyPr>
                <a:lstStyle/>
                <a:p>
                  <a:pPr algn="ctr"/>
                  <a:endParaRPr lang="zh-CN" altLang="en-US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30" name="任意多边形: 形状 29">
                  <a:extLst>
                    <a:ext uri="{FF2B5EF4-FFF2-40B4-BE49-F238E27FC236}">
                      <a16:creationId xmlns:a16="http://schemas.microsoft.com/office/drawing/2014/main" id="{4D949F07-33AE-447F-80DD-1A9CF4E0C7C4}"/>
                    </a:ext>
                  </a:extLst>
                </p:cNvPr>
                <p:cNvSpPr/>
                <p:nvPr/>
              </p:nvSpPr>
              <p:spPr bwMode="auto">
                <a:xfrm>
                  <a:off x="800847" y="1324564"/>
                  <a:ext cx="285004" cy="261470"/>
                </a:xfrm>
                <a:custGeom>
                  <a:avLst/>
                  <a:gdLst>
                    <a:gd name="connsiteX0" fmla="*/ 303857 w 607639"/>
                    <a:gd name="connsiteY0" fmla="*/ 303714 h 557467"/>
                    <a:gd name="connsiteX1" fmla="*/ 352986 w 607639"/>
                    <a:gd name="connsiteY1" fmla="*/ 309132 h 557467"/>
                    <a:gd name="connsiteX2" fmla="*/ 514597 w 607639"/>
                    <a:gd name="connsiteY2" fmla="*/ 449845 h 557467"/>
                    <a:gd name="connsiteX3" fmla="*/ 528676 w 607639"/>
                    <a:gd name="connsiteY3" fmla="*/ 528182 h 557467"/>
                    <a:gd name="connsiteX4" fmla="*/ 499345 w 607639"/>
                    <a:gd name="connsiteY4" fmla="*/ 557467 h 557467"/>
                    <a:gd name="connsiteX5" fmla="*/ 108223 w 607639"/>
                    <a:gd name="connsiteY5" fmla="*/ 557467 h 557467"/>
                    <a:gd name="connsiteX6" fmla="*/ 78892 w 607639"/>
                    <a:gd name="connsiteY6" fmla="*/ 528182 h 557467"/>
                    <a:gd name="connsiteX7" fmla="*/ 303857 w 607639"/>
                    <a:gd name="connsiteY7" fmla="*/ 303714 h 557467"/>
                    <a:gd name="connsiteX8" fmla="*/ 455825 w 607639"/>
                    <a:gd name="connsiteY8" fmla="*/ 268995 h 557467"/>
                    <a:gd name="connsiteX9" fmla="*/ 607639 w 607639"/>
                    <a:gd name="connsiteY9" fmla="*/ 420565 h 557467"/>
                    <a:gd name="connsiteX10" fmla="*/ 578303 w 607639"/>
                    <a:gd name="connsiteY10" fmla="*/ 449854 h 557467"/>
                    <a:gd name="connsiteX11" fmla="*/ 576396 w 607639"/>
                    <a:gd name="connsiteY11" fmla="*/ 449854 h 557467"/>
                    <a:gd name="connsiteX12" fmla="*/ 424875 w 607639"/>
                    <a:gd name="connsiteY12" fmla="*/ 272217 h 557467"/>
                    <a:gd name="connsiteX13" fmla="*/ 455825 w 607639"/>
                    <a:gd name="connsiteY13" fmla="*/ 268995 h 557467"/>
                    <a:gd name="connsiteX14" fmla="*/ 151811 w 607639"/>
                    <a:gd name="connsiteY14" fmla="*/ 268995 h 557467"/>
                    <a:gd name="connsiteX15" fmla="*/ 182906 w 607639"/>
                    <a:gd name="connsiteY15" fmla="*/ 272217 h 557467"/>
                    <a:gd name="connsiteX16" fmla="*/ 31389 w 607639"/>
                    <a:gd name="connsiteY16" fmla="*/ 449854 h 557467"/>
                    <a:gd name="connsiteX17" fmla="*/ 29335 w 607639"/>
                    <a:gd name="connsiteY17" fmla="*/ 449854 h 557467"/>
                    <a:gd name="connsiteX18" fmla="*/ 0 w 607639"/>
                    <a:gd name="connsiteY18" fmla="*/ 420565 h 557467"/>
                    <a:gd name="connsiteX19" fmla="*/ 151811 w 607639"/>
                    <a:gd name="connsiteY19" fmla="*/ 268995 h 557467"/>
                    <a:gd name="connsiteX20" fmla="*/ 462556 w 607639"/>
                    <a:gd name="connsiteY20" fmla="*/ 35000 h 557467"/>
                    <a:gd name="connsiteX21" fmla="*/ 543847 w 607639"/>
                    <a:gd name="connsiteY21" fmla="*/ 122571 h 557467"/>
                    <a:gd name="connsiteX22" fmla="*/ 462556 w 607639"/>
                    <a:gd name="connsiteY22" fmla="*/ 210143 h 557467"/>
                    <a:gd name="connsiteX23" fmla="*/ 485153 w 607639"/>
                    <a:gd name="connsiteY23" fmla="*/ 122571 h 557467"/>
                    <a:gd name="connsiteX24" fmla="*/ 462556 w 607639"/>
                    <a:gd name="connsiteY24" fmla="*/ 35000 h 557467"/>
                    <a:gd name="connsiteX25" fmla="*/ 145224 w 607639"/>
                    <a:gd name="connsiteY25" fmla="*/ 35000 h 557467"/>
                    <a:gd name="connsiteX26" fmla="*/ 122481 w 607639"/>
                    <a:gd name="connsiteY26" fmla="*/ 122571 h 557467"/>
                    <a:gd name="connsiteX27" fmla="*/ 145224 w 607639"/>
                    <a:gd name="connsiteY27" fmla="*/ 210143 h 557467"/>
                    <a:gd name="connsiteX28" fmla="*/ 63791 w 607639"/>
                    <a:gd name="connsiteY28" fmla="*/ 122571 h 557467"/>
                    <a:gd name="connsiteX29" fmla="*/ 145224 w 607639"/>
                    <a:gd name="connsiteY29" fmla="*/ 35000 h 557467"/>
                    <a:gd name="connsiteX30" fmla="*/ 303892 w 607639"/>
                    <a:gd name="connsiteY30" fmla="*/ 0 h 557467"/>
                    <a:gd name="connsiteX31" fmla="*/ 403912 w 607639"/>
                    <a:gd name="connsiteY31" fmla="*/ 51694 h 557467"/>
                    <a:gd name="connsiteX32" fmla="*/ 426497 w 607639"/>
                    <a:gd name="connsiteY32" fmla="*/ 122572 h 557467"/>
                    <a:gd name="connsiteX33" fmla="*/ 403912 w 607639"/>
                    <a:gd name="connsiteY33" fmla="*/ 193450 h 557467"/>
                    <a:gd name="connsiteX34" fmla="*/ 303892 w 607639"/>
                    <a:gd name="connsiteY34" fmla="*/ 245144 h 557467"/>
                    <a:gd name="connsiteX35" fmla="*/ 181141 w 607639"/>
                    <a:gd name="connsiteY35" fmla="*/ 122572 h 557467"/>
                    <a:gd name="connsiteX36" fmla="*/ 303892 w 607639"/>
                    <a:gd name="connsiteY36" fmla="*/ 0 h 5574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607639" h="557467">
                      <a:moveTo>
                        <a:pt x="303857" y="303714"/>
                      </a:moveTo>
                      <a:cubicBezTo>
                        <a:pt x="320722" y="303714"/>
                        <a:pt x="337148" y="305618"/>
                        <a:pt x="352986" y="309132"/>
                      </a:cubicBezTo>
                      <a:cubicBezTo>
                        <a:pt x="427486" y="325824"/>
                        <a:pt x="488200" y="379562"/>
                        <a:pt x="514597" y="449845"/>
                      </a:cubicBezTo>
                      <a:cubicBezTo>
                        <a:pt x="523690" y="474298"/>
                        <a:pt x="528676" y="500655"/>
                        <a:pt x="528676" y="528182"/>
                      </a:cubicBezTo>
                      <a:cubicBezTo>
                        <a:pt x="528676" y="544289"/>
                        <a:pt x="515477" y="557467"/>
                        <a:pt x="499345" y="557467"/>
                      </a:cubicBezTo>
                      <a:lnTo>
                        <a:pt x="108223" y="557467"/>
                      </a:lnTo>
                      <a:cubicBezTo>
                        <a:pt x="92091" y="557467"/>
                        <a:pt x="78892" y="544289"/>
                        <a:pt x="78892" y="528182"/>
                      </a:cubicBezTo>
                      <a:cubicBezTo>
                        <a:pt x="78892" y="404307"/>
                        <a:pt x="179789" y="303714"/>
                        <a:pt x="303857" y="303714"/>
                      </a:cubicBezTo>
                      <a:close/>
                      <a:moveTo>
                        <a:pt x="455825" y="268995"/>
                      </a:moveTo>
                      <a:cubicBezTo>
                        <a:pt x="539579" y="268995"/>
                        <a:pt x="607639" y="336945"/>
                        <a:pt x="607639" y="420565"/>
                      </a:cubicBezTo>
                      <a:cubicBezTo>
                        <a:pt x="607639" y="436674"/>
                        <a:pt x="594584" y="449854"/>
                        <a:pt x="578303" y="449854"/>
                      </a:cubicBezTo>
                      <a:lnTo>
                        <a:pt x="576396" y="449854"/>
                      </a:lnTo>
                      <a:cubicBezTo>
                        <a:pt x="553661" y="371360"/>
                        <a:pt x="497775" y="306631"/>
                        <a:pt x="424875" y="272217"/>
                      </a:cubicBezTo>
                      <a:cubicBezTo>
                        <a:pt x="434996" y="270020"/>
                        <a:pt x="445410" y="268995"/>
                        <a:pt x="455825" y="268995"/>
                      </a:cubicBezTo>
                      <a:close/>
                      <a:moveTo>
                        <a:pt x="151811" y="268995"/>
                      </a:moveTo>
                      <a:cubicBezTo>
                        <a:pt x="162371" y="268995"/>
                        <a:pt x="172785" y="270020"/>
                        <a:pt x="182906" y="272217"/>
                      </a:cubicBezTo>
                      <a:cubicBezTo>
                        <a:pt x="110008" y="306631"/>
                        <a:pt x="53977" y="371360"/>
                        <a:pt x="31389" y="449854"/>
                      </a:cubicBezTo>
                      <a:lnTo>
                        <a:pt x="29335" y="449854"/>
                      </a:lnTo>
                      <a:cubicBezTo>
                        <a:pt x="13201" y="449854"/>
                        <a:pt x="0" y="436674"/>
                        <a:pt x="0" y="420565"/>
                      </a:cubicBezTo>
                      <a:cubicBezTo>
                        <a:pt x="0" y="336945"/>
                        <a:pt x="68058" y="268995"/>
                        <a:pt x="151811" y="268995"/>
                      </a:cubicBezTo>
                      <a:close/>
                      <a:moveTo>
                        <a:pt x="462556" y="35000"/>
                      </a:moveTo>
                      <a:cubicBezTo>
                        <a:pt x="507897" y="38368"/>
                        <a:pt x="543847" y="76296"/>
                        <a:pt x="543847" y="122571"/>
                      </a:cubicBezTo>
                      <a:cubicBezTo>
                        <a:pt x="543847" y="168847"/>
                        <a:pt x="507897" y="206775"/>
                        <a:pt x="462556" y="210143"/>
                      </a:cubicBezTo>
                      <a:cubicBezTo>
                        <a:pt x="476936" y="184223"/>
                        <a:pt x="485153" y="154349"/>
                        <a:pt x="485153" y="122571"/>
                      </a:cubicBezTo>
                      <a:cubicBezTo>
                        <a:pt x="485153" y="90794"/>
                        <a:pt x="476936" y="60920"/>
                        <a:pt x="462556" y="35000"/>
                      </a:cubicBezTo>
                      <a:close/>
                      <a:moveTo>
                        <a:pt x="145224" y="35000"/>
                      </a:moveTo>
                      <a:cubicBezTo>
                        <a:pt x="130698" y="60920"/>
                        <a:pt x="122481" y="90794"/>
                        <a:pt x="122481" y="122571"/>
                      </a:cubicBezTo>
                      <a:cubicBezTo>
                        <a:pt x="122481" y="154349"/>
                        <a:pt x="130698" y="184223"/>
                        <a:pt x="145224" y="210143"/>
                      </a:cubicBezTo>
                      <a:cubicBezTo>
                        <a:pt x="99739" y="206775"/>
                        <a:pt x="63791" y="168847"/>
                        <a:pt x="63791" y="122571"/>
                      </a:cubicBezTo>
                      <a:cubicBezTo>
                        <a:pt x="63791" y="76296"/>
                        <a:pt x="99739" y="38368"/>
                        <a:pt x="145224" y="35000"/>
                      </a:cubicBezTo>
                      <a:close/>
                      <a:moveTo>
                        <a:pt x="303892" y="0"/>
                      </a:moveTo>
                      <a:cubicBezTo>
                        <a:pt x="345103" y="0"/>
                        <a:pt x="381620" y="20502"/>
                        <a:pt x="403912" y="51694"/>
                      </a:cubicBezTo>
                      <a:cubicBezTo>
                        <a:pt x="418138" y="71756"/>
                        <a:pt x="426497" y="96212"/>
                        <a:pt x="426497" y="122572"/>
                      </a:cubicBezTo>
                      <a:cubicBezTo>
                        <a:pt x="426497" y="148931"/>
                        <a:pt x="418138" y="173387"/>
                        <a:pt x="403912" y="193450"/>
                      </a:cubicBezTo>
                      <a:cubicBezTo>
                        <a:pt x="381620" y="224642"/>
                        <a:pt x="345103" y="245144"/>
                        <a:pt x="303892" y="245144"/>
                      </a:cubicBezTo>
                      <a:cubicBezTo>
                        <a:pt x="236137" y="245144"/>
                        <a:pt x="181141" y="190082"/>
                        <a:pt x="181141" y="122572"/>
                      </a:cubicBezTo>
                      <a:cubicBezTo>
                        <a:pt x="181141" y="55062"/>
                        <a:pt x="236137" y="0"/>
                        <a:pt x="303892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/>
                <a:lstStyle/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26" name="组合 25">
                <a:extLst>
                  <a:ext uri="{FF2B5EF4-FFF2-40B4-BE49-F238E27FC236}">
                    <a16:creationId xmlns:a16="http://schemas.microsoft.com/office/drawing/2014/main" id="{FDE0392E-B8C9-4FE3-9C20-C6C4F3717352}"/>
                  </a:ext>
                </a:extLst>
              </p:cNvPr>
              <p:cNvGrpSpPr/>
              <p:nvPr/>
            </p:nvGrpSpPr>
            <p:grpSpPr>
              <a:xfrm>
                <a:off x="8167409" y="4110618"/>
                <a:ext cx="1910608" cy="1030224"/>
                <a:chOff x="5875776" y="1130300"/>
                <a:chExt cx="1910608" cy="1030224"/>
              </a:xfrm>
            </p:grpSpPr>
            <p:sp>
              <p:nvSpPr>
                <p:cNvPr id="27" name="矩形 26">
                  <a:extLst>
                    <a:ext uri="{FF2B5EF4-FFF2-40B4-BE49-F238E27FC236}">
                      <a16:creationId xmlns:a16="http://schemas.microsoft.com/office/drawing/2014/main" id="{4E82E71A-1287-45E8-9875-D2A9EB865277}"/>
                    </a:ext>
                  </a:extLst>
                </p:cNvPr>
                <p:cNvSpPr/>
                <p:nvPr/>
              </p:nvSpPr>
              <p:spPr bwMode="auto">
                <a:xfrm>
                  <a:off x="5875776" y="1130300"/>
                  <a:ext cx="1910608" cy="392113"/>
                </a:xfrm>
                <a:prstGeom prst="rect">
                  <a:avLst/>
                </a:prstGeom>
                <a:noFill/>
                <a:ln w="28575" algn="ctr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defTabSz="914400"/>
                  <a:r>
                    <a:rPr lang="zh-CN" altLang="en-US" sz="1800" b="1" kern="0" dirty="0">
                      <a:cs typeface="+mn-ea"/>
                      <a:sym typeface="+mn-lt"/>
                    </a:rPr>
                    <a:t>注册码生成失败</a:t>
                  </a:r>
                </a:p>
              </p:txBody>
            </p:sp>
            <p:sp>
              <p:nvSpPr>
                <p:cNvPr id="28" name="矩形 27">
                  <a:extLst>
                    <a:ext uri="{FF2B5EF4-FFF2-40B4-BE49-F238E27FC236}">
                      <a16:creationId xmlns:a16="http://schemas.microsoft.com/office/drawing/2014/main" id="{715461BC-FD33-4BE8-8E88-7484D2ED2DA9}"/>
                    </a:ext>
                  </a:extLst>
                </p:cNvPr>
                <p:cNvSpPr/>
                <p:nvPr/>
              </p:nvSpPr>
              <p:spPr>
                <a:xfrm>
                  <a:off x="5875776" y="1522413"/>
                  <a:ext cx="1910608" cy="63811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>
                  <a:normAutofit fontScale="92500" lnSpcReduction="20000"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>
                    <a:lnSpc>
                      <a:spcPct val="150000"/>
                    </a:lnSpc>
                  </a:pPr>
                  <a:r>
                    <a:rPr lang="zh-CN" altLang="en-US" sz="14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最后一行多余内容</a:t>
                  </a:r>
                  <a:endParaRPr lang="en-US" altLang="zh-CN" sz="1400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  <a:p>
                  <a:pPr lvl="0">
                    <a:lnSpc>
                      <a:spcPct val="150000"/>
                    </a:lnSpc>
                  </a:pPr>
                  <a:r>
                    <a:rPr lang="zh-CN" altLang="en-US" sz="14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未找到</a:t>
                  </a:r>
                  <a:r>
                    <a:rPr lang="en-US" altLang="zh-CN" sz="14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ESAM</a:t>
                  </a:r>
                  <a:r>
                    <a:rPr lang="zh-CN" altLang="en-US" sz="14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文件</a:t>
                  </a:r>
                  <a:endParaRPr lang="en-US" altLang="zh-CN" sz="1400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  <a:p>
                  <a:pPr lvl="0">
                    <a:lnSpc>
                      <a:spcPct val="150000"/>
                    </a:lnSpc>
                  </a:pPr>
                  <a:endPara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  <a:p>
                  <a:pPr lvl="0">
                    <a:lnSpc>
                      <a:spcPct val="150000"/>
                    </a:lnSpc>
                  </a:pPr>
                  <a:endPara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335C651D-635E-4F8F-8908-255F910EDB8A}"/>
                </a:ext>
              </a:extLst>
            </p:cNvPr>
            <p:cNvGrpSpPr/>
            <p:nvPr/>
          </p:nvGrpSpPr>
          <p:grpSpPr>
            <a:xfrm>
              <a:off x="8664844" y="3614086"/>
              <a:ext cx="2962380" cy="1033406"/>
              <a:chOff x="7222373" y="4107436"/>
              <a:chExt cx="2962380" cy="1033406"/>
            </a:xfrm>
          </p:grpSpPr>
          <p:grpSp>
            <p:nvGrpSpPr>
              <p:cNvPr id="19" name="组合 18">
                <a:extLst>
                  <a:ext uri="{FF2B5EF4-FFF2-40B4-BE49-F238E27FC236}">
                    <a16:creationId xmlns:a16="http://schemas.microsoft.com/office/drawing/2014/main" id="{542513E7-899B-43AF-9463-81D9AF21CD87}"/>
                  </a:ext>
                </a:extLst>
              </p:cNvPr>
              <p:cNvGrpSpPr/>
              <p:nvPr/>
            </p:nvGrpSpPr>
            <p:grpSpPr>
              <a:xfrm>
                <a:off x="7222373" y="4107436"/>
                <a:ext cx="762488" cy="762486"/>
                <a:chOff x="669925" y="1181875"/>
                <a:chExt cx="546847" cy="546847"/>
              </a:xfrm>
            </p:grpSpPr>
            <p:sp>
              <p:nvSpPr>
                <p:cNvPr id="23" name="椭圆 22">
                  <a:extLst>
                    <a:ext uri="{FF2B5EF4-FFF2-40B4-BE49-F238E27FC236}">
                      <a16:creationId xmlns:a16="http://schemas.microsoft.com/office/drawing/2014/main" id="{C0643201-A972-47EC-8AE3-3FA47DBC3C30}"/>
                    </a:ext>
                  </a:extLst>
                </p:cNvPr>
                <p:cNvSpPr/>
                <p:nvPr/>
              </p:nvSpPr>
              <p:spPr>
                <a:xfrm>
                  <a:off x="669925" y="1181875"/>
                  <a:ext cx="546847" cy="546847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rmAutofit/>
                </a:bodyPr>
                <a:lstStyle/>
                <a:p>
                  <a:pPr algn="ctr"/>
                  <a:endParaRPr lang="zh-CN" altLang="en-US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24" name="任意多边形: 形状 23">
                  <a:extLst>
                    <a:ext uri="{FF2B5EF4-FFF2-40B4-BE49-F238E27FC236}">
                      <a16:creationId xmlns:a16="http://schemas.microsoft.com/office/drawing/2014/main" id="{9A8EA14D-DCD5-4D5E-9DE3-B499DA77A887}"/>
                    </a:ext>
                  </a:extLst>
                </p:cNvPr>
                <p:cNvSpPr/>
                <p:nvPr/>
              </p:nvSpPr>
              <p:spPr bwMode="auto">
                <a:xfrm>
                  <a:off x="800847" y="1324564"/>
                  <a:ext cx="285004" cy="261470"/>
                </a:xfrm>
                <a:custGeom>
                  <a:avLst/>
                  <a:gdLst>
                    <a:gd name="connsiteX0" fmla="*/ 303857 w 607639"/>
                    <a:gd name="connsiteY0" fmla="*/ 303714 h 557467"/>
                    <a:gd name="connsiteX1" fmla="*/ 352986 w 607639"/>
                    <a:gd name="connsiteY1" fmla="*/ 309132 h 557467"/>
                    <a:gd name="connsiteX2" fmla="*/ 514597 w 607639"/>
                    <a:gd name="connsiteY2" fmla="*/ 449845 h 557467"/>
                    <a:gd name="connsiteX3" fmla="*/ 528676 w 607639"/>
                    <a:gd name="connsiteY3" fmla="*/ 528182 h 557467"/>
                    <a:gd name="connsiteX4" fmla="*/ 499345 w 607639"/>
                    <a:gd name="connsiteY4" fmla="*/ 557467 h 557467"/>
                    <a:gd name="connsiteX5" fmla="*/ 108223 w 607639"/>
                    <a:gd name="connsiteY5" fmla="*/ 557467 h 557467"/>
                    <a:gd name="connsiteX6" fmla="*/ 78892 w 607639"/>
                    <a:gd name="connsiteY6" fmla="*/ 528182 h 557467"/>
                    <a:gd name="connsiteX7" fmla="*/ 303857 w 607639"/>
                    <a:gd name="connsiteY7" fmla="*/ 303714 h 557467"/>
                    <a:gd name="connsiteX8" fmla="*/ 455825 w 607639"/>
                    <a:gd name="connsiteY8" fmla="*/ 268995 h 557467"/>
                    <a:gd name="connsiteX9" fmla="*/ 607639 w 607639"/>
                    <a:gd name="connsiteY9" fmla="*/ 420565 h 557467"/>
                    <a:gd name="connsiteX10" fmla="*/ 578303 w 607639"/>
                    <a:gd name="connsiteY10" fmla="*/ 449854 h 557467"/>
                    <a:gd name="connsiteX11" fmla="*/ 576396 w 607639"/>
                    <a:gd name="connsiteY11" fmla="*/ 449854 h 557467"/>
                    <a:gd name="connsiteX12" fmla="*/ 424875 w 607639"/>
                    <a:gd name="connsiteY12" fmla="*/ 272217 h 557467"/>
                    <a:gd name="connsiteX13" fmla="*/ 455825 w 607639"/>
                    <a:gd name="connsiteY13" fmla="*/ 268995 h 557467"/>
                    <a:gd name="connsiteX14" fmla="*/ 151811 w 607639"/>
                    <a:gd name="connsiteY14" fmla="*/ 268995 h 557467"/>
                    <a:gd name="connsiteX15" fmla="*/ 182906 w 607639"/>
                    <a:gd name="connsiteY15" fmla="*/ 272217 h 557467"/>
                    <a:gd name="connsiteX16" fmla="*/ 31389 w 607639"/>
                    <a:gd name="connsiteY16" fmla="*/ 449854 h 557467"/>
                    <a:gd name="connsiteX17" fmla="*/ 29335 w 607639"/>
                    <a:gd name="connsiteY17" fmla="*/ 449854 h 557467"/>
                    <a:gd name="connsiteX18" fmla="*/ 0 w 607639"/>
                    <a:gd name="connsiteY18" fmla="*/ 420565 h 557467"/>
                    <a:gd name="connsiteX19" fmla="*/ 151811 w 607639"/>
                    <a:gd name="connsiteY19" fmla="*/ 268995 h 557467"/>
                    <a:gd name="connsiteX20" fmla="*/ 462556 w 607639"/>
                    <a:gd name="connsiteY20" fmla="*/ 35000 h 557467"/>
                    <a:gd name="connsiteX21" fmla="*/ 543847 w 607639"/>
                    <a:gd name="connsiteY21" fmla="*/ 122571 h 557467"/>
                    <a:gd name="connsiteX22" fmla="*/ 462556 w 607639"/>
                    <a:gd name="connsiteY22" fmla="*/ 210143 h 557467"/>
                    <a:gd name="connsiteX23" fmla="*/ 485153 w 607639"/>
                    <a:gd name="connsiteY23" fmla="*/ 122571 h 557467"/>
                    <a:gd name="connsiteX24" fmla="*/ 462556 w 607639"/>
                    <a:gd name="connsiteY24" fmla="*/ 35000 h 557467"/>
                    <a:gd name="connsiteX25" fmla="*/ 145224 w 607639"/>
                    <a:gd name="connsiteY25" fmla="*/ 35000 h 557467"/>
                    <a:gd name="connsiteX26" fmla="*/ 122481 w 607639"/>
                    <a:gd name="connsiteY26" fmla="*/ 122571 h 557467"/>
                    <a:gd name="connsiteX27" fmla="*/ 145224 w 607639"/>
                    <a:gd name="connsiteY27" fmla="*/ 210143 h 557467"/>
                    <a:gd name="connsiteX28" fmla="*/ 63791 w 607639"/>
                    <a:gd name="connsiteY28" fmla="*/ 122571 h 557467"/>
                    <a:gd name="connsiteX29" fmla="*/ 145224 w 607639"/>
                    <a:gd name="connsiteY29" fmla="*/ 35000 h 557467"/>
                    <a:gd name="connsiteX30" fmla="*/ 303892 w 607639"/>
                    <a:gd name="connsiteY30" fmla="*/ 0 h 557467"/>
                    <a:gd name="connsiteX31" fmla="*/ 403912 w 607639"/>
                    <a:gd name="connsiteY31" fmla="*/ 51694 h 557467"/>
                    <a:gd name="connsiteX32" fmla="*/ 426497 w 607639"/>
                    <a:gd name="connsiteY32" fmla="*/ 122572 h 557467"/>
                    <a:gd name="connsiteX33" fmla="*/ 403912 w 607639"/>
                    <a:gd name="connsiteY33" fmla="*/ 193450 h 557467"/>
                    <a:gd name="connsiteX34" fmla="*/ 303892 w 607639"/>
                    <a:gd name="connsiteY34" fmla="*/ 245144 h 557467"/>
                    <a:gd name="connsiteX35" fmla="*/ 181141 w 607639"/>
                    <a:gd name="connsiteY35" fmla="*/ 122572 h 557467"/>
                    <a:gd name="connsiteX36" fmla="*/ 303892 w 607639"/>
                    <a:gd name="connsiteY36" fmla="*/ 0 h 5574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607639" h="557467">
                      <a:moveTo>
                        <a:pt x="303857" y="303714"/>
                      </a:moveTo>
                      <a:cubicBezTo>
                        <a:pt x="320722" y="303714"/>
                        <a:pt x="337148" y="305618"/>
                        <a:pt x="352986" y="309132"/>
                      </a:cubicBezTo>
                      <a:cubicBezTo>
                        <a:pt x="427486" y="325824"/>
                        <a:pt x="488200" y="379562"/>
                        <a:pt x="514597" y="449845"/>
                      </a:cubicBezTo>
                      <a:cubicBezTo>
                        <a:pt x="523690" y="474298"/>
                        <a:pt x="528676" y="500655"/>
                        <a:pt x="528676" y="528182"/>
                      </a:cubicBezTo>
                      <a:cubicBezTo>
                        <a:pt x="528676" y="544289"/>
                        <a:pt x="515477" y="557467"/>
                        <a:pt x="499345" y="557467"/>
                      </a:cubicBezTo>
                      <a:lnTo>
                        <a:pt x="108223" y="557467"/>
                      </a:lnTo>
                      <a:cubicBezTo>
                        <a:pt x="92091" y="557467"/>
                        <a:pt x="78892" y="544289"/>
                        <a:pt x="78892" y="528182"/>
                      </a:cubicBezTo>
                      <a:cubicBezTo>
                        <a:pt x="78892" y="404307"/>
                        <a:pt x="179789" y="303714"/>
                        <a:pt x="303857" y="303714"/>
                      </a:cubicBezTo>
                      <a:close/>
                      <a:moveTo>
                        <a:pt x="455825" y="268995"/>
                      </a:moveTo>
                      <a:cubicBezTo>
                        <a:pt x="539579" y="268995"/>
                        <a:pt x="607639" y="336945"/>
                        <a:pt x="607639" y="420565"/>
                      </a:cubicBezTo>
                      <a:cubicBezTo>
                        <a:pt x="607639" y="436674"/>
                        <a:pt x="594584" y="449854"/>
                        <a:pt x="578303" y="449854"/>
                      </a:cubicBezTo>
                      <a:lnTo>
                        <a:pt x="576396" y="449854"/>
                      </a:lnTo>
                      <a:cubicBezTo>
                        <a:pt x="553661" y="371360"/>
                        <a:pt x="497775" y="306631"/>
                        <a:pt x="424875" y="272217"/>
                      </a:cubicBezTo>
                      <a:cubicBezTo>
                        <a:pt x="434996" y="270020"/>
                        <a:pt x="445410" y="268995"/>
                        <a:pt x="455825" y="268995"/>
                      </a:cubicBezTo>
                      <a:close/>
                      <a:moveTo>
                        <a:pt x="151811" y="268995"/>
                      </a:moveTo>
                      <a:cubicBezTo>
                        <a:pt x="162371" y="268995"/>
                        <a:pt x="172785" y="270020"/>
                        <a:pt x="182906" y="272217"/>
                      </a:cubicBezTo>
                      <a:cubicBezTo>
                        <a:pt x="110008" y="306631"/>
                        <a:pt x="53977" y="371360"/>
                        <a:pt x="31389" y="449854"/>
                      </a:cubicBezTo>
                      <a:lnTo>
                        <a:pt x="29335" y="449854"/>
                      </a:lnTo>
                      <a:cubicBezTo>
                        <a:pt x="13201" y="449854"/>
                        <a:pt x="0" y="436674"/>
                        <a:pt x="0" y="420565"/>
                      </a:cubicBezTo>
                      <a:cubicBezTo>
                        <a:pt x="0" y="336945"/>
                        <a:pt x="68058" y="268995"/>
                        <a:pt x="151811" y="268995"/>
                      </a:cubicBezTo>
                      <a:close/>
                      <a:moveTo>
                        <a:pt x="462556" y="35000"/>
                      </a:moveTo>
                      <a:cubicBezTo>
                        <a:pt x="507897" y="38368"/>
                        <a:pt x="543847" y="76296"/>
                        <a:pt x="543847" y="122571"/>
                      </a:cubicBezTo>
                      <a:cubicBezTo>
                        <a:pt x="543847" y="168847"/>
                        <a:pt x="507897" y="206775"/>
                        <a:pt x="462556" y="210143"/>
                      </a:cubicBezTo>
                      <a:cubicBezTo>
                        <a:pt x="476936" y="184223"/>
                        <a:pt x="485153" y="154349"/>
                        <a:pt x="485153" y="122571"/>
                      </a:cubicBezTo>
                      <a:cubicBezTo>
                        <a:pt x="485153" y="90794"/>
                        <a:pt x="476936" y="60920"/>
                        <a:pt x="462556" y="35000"/>
                      </a:cubicBezTo>
                      <a:close/>
                      <a:moveTo>
                        <a:pt x="145224" y="35000"/>
                      </a:moveTo>
                      <a:cubicBezTo>
                        <a:pt x="130698" y="60920"/>
                        <a:pt x="122481" y="90794"/>
                        <a:pt x="122481" y="122571"/>
                      </a:cubicBezTo>
                      <a:cubicBezTo>
                        <a:pt x="122481" y="154349"/>
                        <a:pt x="130698" y="184223"/>
                        <a:pt x="145224" y="210143"/>
                      </a:cubicBezTo>
                      <a:cubicBezTo>
                        <a:pt x="99739" y="206775"/>
                        <a:pt x="63791" y="168847"/>
                        <a:pt x="63791" y="122571"/>
                      </a:cubicBezTo>
                      <a:cubicBezTo>
                        <a:pt x="63791" y="76296"/>
                        <a:pt x="99739" y="38368"/>
                        <a:pt x="145224" y="35000"/>
                      </a:cubicBezTo>
                      <a:close/>
                      <a:moveTo>
                        <a:pt x="303892" y="0"/>
                      </a:moveTo>
                      <a:cubicBezTo>
                        <a:pt x="345103" y="0"/>
                        <a:pt x="381620" y="20502"/>
                        <a:pt x="403912" y="51694"/>
                      </a:cubicBezTo>
                      <a:cubicBezTo>
                        <a:pt x="418138" y="71756"/>
                        <a:pt x="426497" y="96212"/>
                        <a:pt x="426497" y="122572"/>
                      </a:cubicBezTo>
                      <a:cubicBezTo>
                        <a:pt x="426497" y="148931"/>
                        <a:pt x="418138" y="173387"/>
                        <a:pt x="403912" y="193450"/>
                      </a:cubicBezTo>
                      <a:cubicBezTo>
                        <a:pt x="381620" y="224642"/>
                        <a:pt x="345103" y="245144"/>
                        <a:pt x="303892" y="245144"/>
                      </a:cubicBezTo>
                      <a:cubicBezTo>
                        <a:pt x="236137" y="245144"/>
                        <a:pt x="181141" y="190082"/>
                        <a:pt x="181141" y="122572"/>
                      </a:cubicBezTo>
                      <a:cubicBezTo>
                        <a:pt x="181141" y="55062"/>
                        <a:pt x="236137" y="0"/>
                        <a:pt x="303892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/>
                <a:lstStyle/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20" name="组合 19">
                <a:extLst>
                  <a:ext uri="{FF2B5EF4-FFF2-40B4-BE49-F238E27FC236}">
                    <a16:creationId xmlns:a16="http://schemas.microsoft.com/office/drawing/2014/main" id="{C1A4E485-31E5-42B4-8AED-2EFD176F8C7F}"/>
                  </a:ext>
                </a:extLst>
              </p:cNvPr>
              <p:cNvGrpSpPr/>
              <p:nvPr/>
            </p:nvGrpSpPr>
            <p:grpSpPr>
              <a:xfrm>
                <a:off x="8167409" y="4110618"/>
                <a:ext cx="2017344" cy="1030224"/>
                <a:chOff x="5875776" y="1130300"/>
                <a:chExt cx="2017344" cy="1030224"/>
              </a:xfrm>
            </p:grpSpPr>
            <p:sp>
              <p:nvSpPr>
                <p:cNvPr id="21" name="矩形 20">
                  <a:extLst>
                    <a:ext uri="{FF2B5EF4-FFF2-40B4-BE49-F238E27FC236}">
                      <a16:creationId xmlns:a16="http://schemas.microsoft.com/office/drawing/2014/main" id="{E92450C7-C2E5-4CBD-B9A1-8E3B8CF6A49C}"/>
                    </a:ext>
                  </a:extLst>
                </p:cNvPr>
                <p:cNvSpPr/>
                <p:nvPr/>
              </p:nvSpPr>
              <p:spPr bwMode="auto">
                <a:xfrm>
                  <a:off x="5875776" y="1130300"/>
                  <a:ext cx="1910608" cy="392113"/>
                </a:xfrm>
                <a:prstGeom prst="rect">
                  <a:avLst/>
                </a:prstGeom>
                <a:noFill/>
                <a:ln w="28575" algn="ctr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defTabSz="914400"/>
                  <a:endParaRPr lang="zh-CN" altLang="en-US" sz="1600" b="1" kern="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22" name="矩形 21">
                  <a:extLst>
                    <a:ext uri="{FF2B5EF4-FFF2-40B4-BE49-F238E27FC236}">
                      <a16:creationId xmlns:a16="http://schemas.microsoft.com/office/drawing/2014/main" id="{7EC133C5-11F1-4708-98FA-8ED6B29B7A82}"/>
                    </a:ext>
                  </a:extLst>
                </p:cNvPr>
                <p:cNvSpPr/>
                <p:nvPr/>
              </p:nvSpPr>
              <p:spPr>
                <a:xfrm>
                  <a:off x="5875776" y="1522413"/>
                  <a:ext cx="2017344" cy="63811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>
                  <a:no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>
                    <a:lnSpc>
                      <a:spcPct val="150000"/>
                    </a:lnSpc>
                  </a:pPr>
                  <a:r>
                    <a:rPr lang="zh-CN" altLang="en-US" sz="14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统一加解密</a:t>
                  </a:r>
                  <a:endParaRPr lang="en-US" altLang="zh-CN" sz="1400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  <a:p>
                  <a:pPr lvl="0">
                    <a:lnSpc>
                      <a:spcPct val="150000"/>
                    </a:lnSpc>
                  </a:pPr>
                  <a:r>
                    <a:rPr lang="zh-CN" altLang="en-US" sz="14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数据库中历史数据替换</a:t>
                  </a:r>
                  <a:endParaRPr lang="en-US" altLang="zh-CN" sz="1400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38F63540-F8A1-4D4F-8AB8-A2D3481B9F1A}"/>
                </a:ext>
              </a:extLst>
            </p:cNvPr>
            <p:cNvGrpSpPr/>
            <p:nvPr/>
          </p:nvGrpSpPr>
          <p:grpSpPr>
            <a:xfrm>
              <a:off x="8664844" y="5120871"/>
              <a:ext cx="2962379" cy="1033406"/>
              <a:chOff x="7222373" y="4107436"/>
              <a:chExt cx="2962379" cy="1033406"/>
            </a:xfrm>
          </p:grpSpPr>
          <p:grpSp>
            <p:nvGrpSpPr>
              <p:cNvPr id="13" name="组合 12">
                <a:extLst>
                  <a:ext uri="{FF2B5EF4-FFF2-40B4-BE49-F238E27FC236}">
                    <a16:creationId xmlns:a16="http://schemas.microsoft.com/office/drawing/2014/main" id="{59BE9444-249D-4F58-9274-8C8A9F4765D2}"/>
                  </a:ext>
                </a:extLst>
              </p:cNvPr>
              <p:cNvGrpSpPr/>
              <p:nvPr/>
            </p:nvGrpSpPr>
            <p:grpSpPr>
              <a:xfrm>
                <a:off x="7222373" y="4107436"/>
                <a:ext cx="762488" cy="762486"/>
                <a:chOff x="669925" y="1181875"/>
                <a:chExt cx="546847" cy="546847"/>
              </a:xfrm>
            </p:grpSpPr>
            <p:sp>
              <p:nvSpPr>
                <p:cNvPr id="17" name="椭圆 16">
                  <a:extLst>
                    <a:ext uri="{FF2B5EF4-FFF2-40B4-BE49-F238E27FC236}">
                      <a16:creationId xmlns:a16="http://schemas.microsoft.com/office/drawing/2014/main" id="{9B4A0534-96ED-43B0-A712-147B22AA9B8F}"/>
                    </a:ext>
                  </a:extLst>
                </p:cNvPr>
                <p:cNvSpPr/>
                <p:nvPr/>
              </p:nvSpPr>
              <p:spPr>
                <a:xfrm>
                  <a:off x="669925" y="1181875"/>
                  <a:ext cx="546847" cy="546847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rmAutofit/>
                </a:bodyPr>
                <a:lstStyle/>
                <a:p>
                  <a:pPr algn="ctr"/>
                  <a:endParaRPr lang="zh-CN" altLang="en-US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18" name="任意多边形: 形状 17">
                  <a:extLst>
                    <a:ext uri="{FF2B5EF4-FFF2-40B4-BE49-F238E27FC236}">
                      <a16:creationId xmlns:a16="http://schemas.microsoft.com/office/drawing/2014/main" id="{C8246B7E-740C-4AF1-B27C-9AF11BD0BC8E}"/>
                    </a:ext>
                  </a:extLst>
                </p:cNvPr>
                <p:cNvSpPr/>
                <p:nvPr/>
              </p:nvSpPr>
              <p:spPr bwMode="auto">
                <a:xfrm>
                  <a:off x="800847" y="1324564"/>
                  <a:ext cx="285004" cy="261470"/>
                </a:xfrm>
                <a:custGeom>
                  <a:avLst/>
                  <a:gdLst>
                    <a:gd name="connsiteX0" fmla="*/ 303857 w 607639"/>
                    <a:gd name="connsiteY0" fmla="*/ 303714 h 557467"/>
                    <a:gd name="connsiteX1" fmla="*/ 352986 w 607639"/>
                    <a:gd name="connsiteY1" fmla="*/ 309132 h 557467"/>
                    <a:gd name="connsiteX2" fmla="*/ 514597 w 607639"/>
                    <a:gd name="connsiteY2" fmla="*/ 449845 h 557467"/>
                    <a:gd name="connsiteX3" fmla="*/ 528676 w 607639"/>
                    <a:gd name="connsiteY3" fmla="*/ 528182 h 557467"/>
                    <a:gd name="connsiteX4" fmla="*/ 499345 w 607639"/>
                    <a:gd name="connsiteY4" fmla="*/ 557467 h 557467"/>
                    <a:gd name="connsiteX5" fmla="*/ 108223 w 607639"/>
                    <a:gd name="connsiteY5" fmla="*/ 557467 h 557467"/>
                    <a:gd name="connsiteX6" fmla="*/ 78892 w 607639"/>
                    <a:gd name="connsiteY6" fmla="*/ 528182 h 557467"/>
                    <a:gd name="connsiteX7" fmla="*/ 303857 w 607639"/>
                    <a:gd name="connsiteY7" fmla="*/ 303714 h 557467"/>
                    <a:gd name="connsiteX8" fmla="*/ 455825 w 607639"/>
                    <a:gd name="connsiteY8" fmla="*/ 268995 h 557467"/>
                    <a:gd name="connsiteX9" fmla="*/ 607639 w 607639"/>
                    <a:gd name="connsiteY9" fmla="*/ 420565 h 557467"/>
                    <a:gd name="connsiteX10" fmla="*/ 578303 w 607639"/>
                    <a:gd name="connsiteY10" fmla="*/ 449854 h 557467"/>
                    <a:gd name="connsiteX11" fmla="*/ 576396 w 607639"/>
                    <a:gd name="connsiteY11" fmla="*/ 449854 h 557467"/>
                    <a:gd name="connsiteX12" fmla="*/ 424875 w 607639"/>
                    <a:gd name="connsiteY12" fmla="*/ 272217 h 557467"/>
                    <a:gd name="connsiteX13" fmla="*/ 455825 w 607639"/>
                    <a:gd name="connsiteY13" fmla="*/ 268995 h 557467"/>
                    <a:gd name="connsiteX14" fmla="*/ 151811 w 607639"/>
                    <a:gd name="connsiteY14" fmla="*/ 268995 h 557467"/>
                    <a:gd name="connsiteX15" fmla="*/ 182906 w 607639"/>
                    <a:gd name="connsiteY15" fmla="*/ 272217 h 557467"/>
                    <a:gd name="connsiteX16" fmla="*/ 31389 w 607639"/>
                    <a:gd name="connsiteY16" fmla="*/ 449854 h 557467"/>
                    <a:gd name="connsiteX17" fmla="*/ 29335 w 607639"/>
                    <a:gd name="connsiteY17" fmla="*/ 449854 h 557467"/>
                    <a:gd name="connsiteX18" fmla="*/ 0 w 607639"/>
                    <a:gd name="connsiteY18" fmla="*/ 420565 h 557467"/>
                    <a:gd name="connsiteX19" fmla="*/ 151811 w 607639"/>
                    <a:gd name="connsiteY19" fmla="*/ 268995 h 557467"/>
                    <a:gd name="connsiteX20" fmla="*/ 462556 w 607639"/>
                    <a:gd name="connsiteY20" fmla="*/ 35000 h 557467"/>
                    <a:gd name="connsiteX21" fmla="*/ 543847 w 607639"/>
                    <a:gd name="connsiteY21" fmla="*/ 122571 h 557467"/>
                    <a:gd name="connsiteX22" fmla="*/ 462556 w 607639"/>
                    <a:gd name="connsiteY22" fmla="*/ 210143 h 557467"/>
                    <a:gd name="connsiteX23" fmla="*/ 485153 w 607639"/>
                    <a:gd name="connsiteY23" fmla="*/ 122571 h 557467"/>
                    <a:gd name="connsiteX24" fmla="*/ 462556 w 607639"/>
                    <a:gd name="connsiteY24" fmla="*/ 35000 h 557467"/>
                    <a:gd name="connsiteX25" fmla="*/ 145224 w 607639"/>
                    <a:gd name="connsiteY25" fmla="*/ 35000 h 557467"/>
                    <a:gd name="connsiteX26" fmla="*/ 122481 w 607639"/>
                    <a:gd name="connsiteY26" fmla="*/ 122571 h 557467"/>
                    <a:gd name="connsiteX27" fmla="*/ 145224 w 607639"/>
                    <a:gd name="connsiteY27" fmla="*/ 210143 h 557467"/>
                    <a:gd name="connsiteX28" fmla="*/ 63791 w 607639"/>
                    <a:gd name="connsiteY28" fmla="*/ 122571 h 557467"/>
                    <a:gd name="connsiteX29" fmla="*/ 145224 w 607639"/>
                    <a:gd name="connsiteY29" fmla="*/ 35000 h 557467"/>
                    <a:gd name="connsiteX30" fmla="*/ 303892 w 607639"/>
                    <a:gd name="connsiteY30" fmla="*/ 0 h 557467"/>
                    <a:gd name="connsiteX31" fmla="*/ 403912 w 607639"/>
                    <a:gd name="connsiteY31" fmla="*/ 51694 h 557467"/>
                    <a:gd name="connsiteX32" fmla="*/ 426497 w 607639"/>
                    <a:gd name="connsiteY32" fmla="*/ 122572 h 557467"/>
                    <a:gd name="connsiteX33" fmla="*/ 403912 w 607639"/>
                    <a:gd name="connsiteY33" fmla="*/ 193450 h 557467"/>
                    <a:gd name="connsiteX34" fmla="*/ 303892 w 607639"/>
                    <a:gd name="connsiteY34" fmla="*/ 245144 h 557467"/>
                    <a:gd name="connsiteX35" fmla="*/ 181141 w 607639"/>
                    <a:gd name="connsiteY35" fmla="*/ 122572 h 557467"/>
                    <a:gd name="connsiteX36" fmla="*/ 303892 w 607639"/>
                    <a:gd name="connsiteY36" fmla="*/ 0 h 5574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607639" h="557467">
                      <a:moveTo>
                        <a:pt x="303857" y="303714"/>
                      </a:moveTo>
                      <a:cubicBezTo>
                        <a:pt x="320722" y="303714"/>
                        <a:pt x="337148" y="305618"/>
                        <a:pt x="352986" y="309132"/>
                      </a:cubicBezTo>
                      <a:cubicBezTo>
                        <a:pt x="427486" y="325824"/>
                        <a:pt x="488200" y="379562"/>
                        <a:pt x="514597" y="449845"/>
                      </a:cubicBezTo>
                      <a:cubicBezTo>
                        <a:pt x="523690" y="474298"/>
                        <a:pt x="528676" y="500655"/>
                        <a:pt x="528676" y="528182"/>
                      </a:cubicBezTo>
                      <a:cubicBezTo>
                        <a:pt x="528676" y="544289"/>
                        <a:pt x="515477" y="557467"/>
                        <a:pt x="499345" y="557467"/>
                      </a:cubicBezTo>
                      <a:lnTo>
                        <a:pt x="108223" y="557467"/>
                      </a:lnTo>
                      <a:cubicBezTo>
                        <a:pt x="92091" y="557467"/>
                        <a:pt x="78892" y="544289"/>
                        <a:pt x="78892" y="528182"/>
                      </a:cubicBezTo>
                      <a:cubicBezTo>
                        <a:pt x="78892" y="404307"/>
                        <a:pt x="179789" y="303714"/>
                        <a:pt x="303857" y="303714"/>
                      </a:cubicBezTo>
                      <a:close/>
                      <a:moveTo>
                        <a:pt x="455825" y="268995"/>
                      </a:moveTo>
                      <a:cubicBezTo>
                        <a:pt x="539579" y="268995"/>
                        <a:pt x="607639" y="336945"/>
                        <a:pt x="607639" y="420565"/>
                      </a:cubicBezTo>
                      <a:cubicBezTo>
                        <a:pt x="607639" y="436674"/>
                        <a:pt x="594584" y="449854"/>
                        <a:pt x="578303" y="449854"/>
                      </a:cubicBezTo>
                      <a:lnTo>
                        <a:pt x="576396" y="449854"/>
                      </a:lnTo>
                      <a:cubicBezTo>
                        <a:pt x="553661" y="371360"/>
                        <a:pt x="497775" y="306631"/>
                        <a:pt x="424875" y="272217"/>
                      </a:cubicBezTo>
                      <a:cubicBezTo>
                        <a:pt x="434996" y="270020"/>
                        <a:pt x="445410" y="268995"/>
                        <a:pt x="455825" y="268995"/>
                      </a:cubicBezTo>
                      <a:close/>
                      <a:moveTo>
                        <a:pt x="151811" y="268995"/>
                      </a:moveTo>
                      <a:cubicBezTo>
                        <a:pt x="162371" y="268995"/>
                        <a:pt x="172785" y="270020"/>
                        <a:pt x="182906" y="272217"/>
                      </a:cubicBezTo>
                      <a:cubicBezTo>
                        <a:pt x="110008" y="306631"/>
                        <a:pt x="53977" y="371360"/>
                        <a:pt x="31389" y="449854"/>
                      </a:cubicBezTo>
                      <a:lnTo>
                        <a:pt x="29335" y="449854"/>
                      </a:lnTo>
                      <a:cubicBezTo>
                        <a:pt x="13201" y="449854"/>
                        <a:pt x="0" y="436674"/>
                        <a:pt x="0" y="420565"/>
                      </a:cubicBezTo>
                      <a:cubicBezTo>
                        <a:pt x="0" y="336945"/>
                        <a:pt x="68058" y="268995"/>
                        <a:pt x="151811" y="268995"/>
                      </a:cubicBezTo>
                      <a:close/>
                      <a:moveTo>
                        <a:pt x="462556" y="35000"/>
                      </a:moveTo>
                      <a:cubicBezTo>
                        <a:pt x="507897" y="38368"/>
                        <a:pt x="543847" y="76296"/>
                        <a:pt x="543847" y="122571"/>
                      </a:cubicBezTo>
                      <a:cubicBezTo>
                        <a:pt x="543847" y="168847"/>
                        <a:pt x="507897" y="206775"/>
                        <a:pt x="462556" y="210143"/>
                      </a:cubicBezTo>
                      <a:cubicBezTo>
                        <a:pt x="476936" y="184223"/>
                        <a:pt x="485153" y="154349"/>
                        <a:pt x="485153" y="122571"/>
                      </a:cubicBezTo>
                      <a:cubicBezTo>
                        <a:pt x="485153" y="90794"/>
                        <a:pt x="476936" y="60920"/>
                        <a:pt x="462556" y="35000"/>
                      </a:cubicBezTo>
                      <a:close/>
                      <a:moveTo>
                        <a:pt x="145224" y="35000"/>
                      </a:moveTo>
                      <a:cubicBezTo>
                        <a:pt x="130698" y="60920"/>
                        <a:pt x="122481" y="90794"/>
                        <a:pt x="122481" y="122571"/>
                      </a:cubicBezTo>
                      <a:cubicBezTo>
                        <a:pt x="122481" y="154349"/>
                        <a:pt x="130698" y="184223"/>
                        <a:pt x="145224" y="210143"/>
                      </a:cubicBezTo>
                      <a:cubicBezTo>
                        <a:pt x="99739" y="206775"/>
                        <a:pt x="63791" y="168847"/>
                        <a:pt x="63791" y="122571"/>
                      </a:cubicBezTo>
                      <a:cubicBezTo>
                        <a:pt x="63791" y="76296"/>
                        <a:pt x="99739" y="38368"/>
                        <a:pt x="145224" y="35000"/>
                      </a:cubicBezTo>
                      <a:close/>
                      <a:moveTo>
                        <a:pt x="303892" y="0"/>
                      </a:moveTo>
                      <a:cubicBezTo>
                        <a:pt x="345103" y="0"/>
                        <a:pt x="381620" y="20502"/>
                        <a:pt x="403912" y="51694"/>
                      </a:cubicBezTo>
                      <a:cubicBezTo>
                        <a:pt x="418138" y="71756"/>
                        <a:pt x="426497" y="96212"/>
                        <a:pt x="426497" y="122572"/>
                      </a:cubicBezTo>
                      <a:cubicBezTo>
                        <a:pt x="426497" y="148931"/>
                        <a:pt x="418138" y="173387"/>
                        <a:pt x="403912" y="193450"/>
                      </a:cubicBezTo>
                      <a:cubicBezTo>
                        <a:pt x="381620" y="224642"/>
                        <a:pt x="345103" y="245144"/>
                        <a:pt x="303892" y="245144"/>
                      </a:cubicBezTo>
                      <a:cubicBezTo>
                        <a:pt x="236137" y="245144"/>
                        <a:pt x="181141" y="190082"/>
                        <a:pt x="181141" y="122572"/>
                      </a:cubicBezTo>
                      <a:cubicBezTo>
                        <a:pt x="181141" y="55062"/>
                        <a:pt x="236137" y="0"/>
                        <a:pt x="303892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/>
                <a:lstStyle/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14" name="组合 13">
                <a:extLst>
                  <a:ext uri="{FF2B5EF4-FFF2-40B4-BE49-F238E27FC236}">
                    <a16:creationId xmlns:a16="http://schemas.microsoft.com/office/drawing/2014/main" id="{3EF4A81C-2216-4738-A75B-9CC7C79F9A4A}"/>
                  </a:ext>
                </a:extLst>
              </p:cNvPr>
              <p:cNvGrpSpPr/>
              <p:nvPr/>
            </p:nvGrpSpPr>
            <p:grpSpPr>
              <a:xfrm>
                <a:off x="8167409" y="4110618"/>
                <a:ext cx="2017343" cy="1030224"/>
                <a:chOff x="5875776" y="1130300"/>
                <a:chExt cx="2017343" cy="1030224"/>
              </a:xfrm>
            </p:grpSpPr>
            <p:sp>
              <p:nvSpPr>
                <p:cNvPr id="15" name="矩形 14">
                  <a:extLst>
                    <a:ext uri="{FF2B5EF4-FFF2-40B4-BE49-F238E27FC236}">
                      <a16:creationId xmlns:a16="http://schemas.microsoft.com/office/drawing/2014/main" id="{3451FCB7-9B4C-4C64-B81C-99243DF1A25A}"/>
                    </a:ext>
                  </a:extLst>
                </p:cNvPr>
                <p:cNvSpPr/>
                <p:nvPr/>
              </p:nvSpPr>
              <p:spPr bwMode="auto">
                <a:xfrm>
                  <a:off x="5875776" y="1130300"/>
                  <a:ext cx="1910608" cy="392113"/>
                </a:xfrm>
                <a:prstGeom prst="rect">
                  <a:avLst/>
                </a:prstGeom>
                <a:noFill/>
                <a:ln w="28575" algn="ctr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defTabSz="914400"/>
                  <a:r>
                    <a:rPr lang="zh-CN" altLang="en-US" sz="1800" b="1" kern="0" dirty="0">
                      <a:cs typeface="+mn-ea"/>
                      <a:sym typeface="+mn-lt"/>
                    </a:rPr>
                    <a:t>缺少按钮</a:t>
                  </a:r>
                </a:p>
              </p:txBody>
            </p:sp>
            <p:sp>
              <p:nvSpPr>
                <p:cNvPr id="16" name="矩形 15">
                  <a:extLst>
                    <a:ext uri="{FF2B5EF4-FFF2-40B4-BE49-F238E27FC236}">
                      <a16:creationId xmlns:a16="http://schemas.microsoft.com/office/drawing/2014/main" id="{FA8D1563-3F3A-425E-ACB3-2B635CDE4193}"/>
                    </a:ext>
                  </a:extLst>
                </p:cNvPr>
                <p:cNvSpPr/>
                <p:nvPr/>
              </p:nvSpPr>
              <p:spPr>
                <a:xfrm>
                  <a:off x="5875776" y="1522413"/>
                  <a:ext cx="2017343" cy="63811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>
                  <a:no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>
                    <a:lnSpc>
                      <a:spcPct val="150000"/>
                    </a:lnSpc>
                  </a:pPr>
                  <a:r>
                    <a:rPr lang="zh-CN" altLang="en-US" sz="14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数据库未增加权限数据</a:t>
                  </a:r>
                  <a:endParaRPr lang="en-US" altLang="zh-CN" sz="1400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</p:grpSp>
      <p:sp>
        <p:nvSpPr>
          <p:cNvPr id="53" name="文本框 52">
            <a:extLst>
              <a:ext uri="{FF2B5EF4-FFF2-40B4-BE49-F238E27FC236}">
                <a16:creationId xmlns:a16="http://schemas.microsoft.com/office/drawing/2014/main" id="{095E52BC-0E6E-7F57-EE37-758B23CA9935}"/>
              </a:ext>
            </a:extLst>
          </p:cNvPr>
          <p:cNvSpPr txBox="1"/>
          <p:nvPr/>
        </p:nvSpPr>
        <p:spPr>
          <a:xfrm>
            <a:off x="906163" y="1731673"/>
            <a:ext cx="160834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altLang="zh-CN" sz="1600" dirty="0"/>
              <a:t>APP</a:t>
            </a:r>
            <a:r>
              <a:rPr lang="zh-CN" altLang="en-US" sz="1600" dirty="0"/>
              <a:t>标识不通过类型可以重复</a:t>
            </a:r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29810EA1-1CC4-E846-B860-8C2BAA7C6A6A}"/>
              </a:ext>
            </a:extLst>
          </p:cNvPr>
          <p:cNvSpPr/>
          <p:nvPr/>
        </p:nvSpPr>
        <p:spPr bwMode="auto">
          <a:xfrm>
            <a:off x="9511554" y="3616399"/>
            <a:ext cx="2115670" cy="392113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</a:defRPr>
            </a:lvl9pPr>
          </a:lstStyle>
          <a:p>
            <a:pPr defTabSz="914400"/>
            <a:r>
              <a:rPr lang="zh-CN" altLang="en-US" sz="1800" b="1" kern="0" dirty="0">
                <a:cs typeface="+mn-ea"/>
                <a:sym typeface="+mn-lt"/>
              </a:rPr>
              <a:t>身份证号解密不全</a:t>
            </a:r>
          </a:p>
        </p:txBody>
      </p:sp>
    </p:spTree>
    <p:extLst>
      <p:ext uri="{BB962C8B-B14F-4D97-AF65-F5344CB8AC3E}">
        <p14:creationId xmlns:p14="http://schemas.microsoft.com/office/powerpoint/2010/main" val="39519515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090794" y="2981325"/>
            <a:ext cx="4791016" cy="895350"/>
          </a:xfrm>
        </p:spPr>
        <p:txBody>
          <a:bodyPr>
            <a:normAutofit/>
          </a:bodyPr>
          <a:lstStyle/>
          <a:p>
            <a:r>
              <a:rPr lang="zh-CN" altLang="en-US" sz="3600" b="1" i="0" dirty="0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车网互动公共服务平台</a:t>
            </a:r>
            <a:endParaRPr lang="zh-CN" altLang="en-US" sz="3600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74177" y="308270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/02</a:t>
            </a:r>
            <a:endParaRPr lang="zh-CN" altLang="en-US" spc="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644506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4A6B9F1-6882-478F-AD85-3928DD0E42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负责模块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9D59EA1-2858-4EB2-B287-6204773EF4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8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5FCC5BC8-D11E-468D-9014-0D5A94702C4E}"/>
              </a:ext>
            </a:extLst>
          </p:cNvPr>
          <p:cNvGrpSpPr>
            <a:grpSpLocks noChangeAspect="1"/>
          </p:cNvGrpSpPr>
          <p:nvPr/>
        </p:nvGrpSpPr>
        <p:grpSpPr>
          <a:xfrm>
            <a:off x="687663" y="1659533"/>
            <a:ext cx="10832825" cy="3736718"/>
            <a:chOff x="687663" y="1659533"/>
            <a:chExt cx="10832825" cy="3736718"/>
          </a:xfrm>
        </p:grpSpPr>
        <p:cxnSp>
          <p:nvCxnSpPr>
            <p:cNvPr id="6" name="直接连接符 5">
              <a:extLst>
                <a:ext uri="{FF2B5EF4-FFF2-40B4-BE49-F238E27FC236}">
                  <a16:creationId xmlns:a16="http://schemas.microsoft.com/office/drawing/2014/main" id="{8DA5832D-7F97-409E-8F2F-B87820F57D32}"/>
                </a:ext>
              </a:extLst>
            </p:cNvPr>
            <p:cNvCxnSpPr/>
            <p:nvPr/>
          </p:nvCxnSpPr>
          <p:spPr>
            <a:xfrm>
              <a:off x="7706646" y="3703625"/>
              <a:ext cx="3796197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id="{2B059A2F-80BF-4240-B4C0-A6FF53F3C570}"/>
                </a:ext>
              </a:extLst>
            </p:cNvPr>
            <p:cNvCxnSpPr>
              <a:cxnSpLocks/>
            </p:cNvCxnSpPr>
            <p:nvPr/>
          </p:nvCxnSpPr>
          <p:spPr>
            <a:xfrm>
              <a:off x="697014" y="3523320"/>
              <a:ext cx="3425337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9D70BA59-D25C-4213-B318-46E8AFB8EDEC}"/>
                </a:ext>
              </a:extLst>
            </p:cNvPr>
            <p:cNvSpPr/>
            <p:nvPr/>
          </p:nvSpPr>
          <p:spPr bwMode="auto">
            <a:xfrm rot="19847212">
              <a:off x="4619547" y="3347127"/>
              <a:ext cx="1845035" cy="2011445"/>
            </a:xfrm>
            <a:custGeom>
              <a:avLst/>
              <a:gdLst>
                <a:gd name="T0" fmla="*/ 240 w 260"/>
                <a:gd name="T1" fmla="*/ 258 h 258"/>
                <a:gd name="T2" fmla="*/ 153 w 260"/>
                <a:gd name="T3" fmla="*/ 215 h 258"/>
                <a:gd name="T4" fmla="*/ 3 w 260"/>
                <a:gd name="T5" fmla="*/ 33 h 258"/>
                <a:gd name="T6" fmla="*/ 5 w 260"/>
                <a:gd name="T7" fmla="*/ 6 h 258"/>
                <a:gd name="T8" fmla="*/ 20 w 260"/>
                <a:gd name="T9" fmla="*/ 0 h 258"/>
                <a:gd name="T10" fmla="*/ 107 w 260"/>
                <a:gd name="T11" fmla="*/ 43 h 258"/>
                <a:gd name="T12" fmla="*/ 256 w 260"/>
                <a:gd name="T13" fmla="*/ 225 h 258"/>
                <a:gd name="T14" fmla="*/ 255 w 260"/>
                <a:gd name="T15" fmla="*/ 252 h 258"/>
                <a:gd name="T16" fmla="*/ 240 w 260"/>
                <a:gd name="T17" fmla="*/ 258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0" h="258">
                  <a:moveTo>
                    <a:pt x="240" y="258"/>
                  </a:moveTo>
                  <a:cubicBezTo>
                    <a:pt x="221" y="258"/>
                    <a:pt x="189" y="242"/>
                    <a:pt x="153" y="215"/>
                  </a:cubicBezTo>
                  <a:cubicBezTo>
                    <a:pt x="84" y="161"/>
                    <a:pt x="16" y="80"/>
                    <a:pt x="3" y="33"/>
                  </a:cubicBezTo>
                  <a:cubicBezTo>
                    <a:pt x="0" y="20"/>
                    <a:pt x="0" y="11"/>
                    <a:pt x="5" y="6"/>
                  </a:cubicBezTo>
                  <a:cubicBezTo>
                    <a:pt x="8" y="2"/>
                    <a:pt x="13" y="0"/>
                    <a:pt x="20" y="0"/>
                  </a:cubicBezTo>
                  <a:cubicBezTo>
                    <a:pt x="39" y="0"/>
                    <a:pt x="70" y="15"/>
                    <a:pt x="107" y="43"/>
                  </a:cubicBezTo>
                  <a:cubicBezTo>
                    <a:pt x="176" y="96"/>
                    <a:pt x="243" y="178"/>
                    <a:pt x="256" y="225"/>
                  </a:cubicBezTo>
                  <a:cubicBezTo>
                    <a:pt x="260" y="237"/>
                    <a:pt x="259" y="246"/>
                    <a:pt x="255" y="252"/>
                  </a:cubicBezTo>
                  <a:cubicBezTo>
                    <a:pt x="252" y="256"/>
                    <a:pt x="247" y="258"/>
                    <a:pt x="240" y="25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F68E81E4-51F5-4B6B-80A1-4004EFE2BDDD}"/>
                </a:ext>
              </a:extLst>
            </p:cNvPr>
            <p:cNvSpPr/>
            <p:nvPr/>
          </p:nvSpPr>
          <p:spPr bwMode="auto">
            <a:xfrm rot="19847212">
              <a:off x="4644295" y="2494357"/>
              <a:ext cx="2440111" cy="2718080"/>
            </a:xfrm>
            <a:custGeom>
              <a:avLst/>
              <a:gdLst>
                <a:gd name="T0" fmla="*/ 223 w 344"/>
                <a:gd name="T1" fmla="*/ 254 h 348"/>
                <a:gd name="T2" fmla="*/ 40 w 344"/>
                <a:gd name="T3" fmla="*/ 33 h 348"/>
                <a:gd name="T4" fmla="*/ 39 w 344"/>
                <a:gd name="T5" fmla="*/ 6 h 348"/>
                <a:gd name="T6" fmla="*/ 43 w 344"/>
                <a:gd name="T7" fmla="*/ 0 h 348"/>
                <a:gd name="T8" fmla="*/ 39 w 344"/>
                <a:gd name="T9" fmla="*/ 5 h 348"/>
                <a:gd name="T10" fmla="*/ 37 w 344"/>
                <a:gd name="T11" fmla="*/ 6 h 348"/>
                <a:gd name="T12" fmla="*/ 34 w 344"/>
                <a:gd name="T13" fmla="*/ 11 h 348"/>
                <a:gd name="T14" fmla="*/ 33 w 344"/>
                <a:gd name="T15" fmla="*/ 12 h 348"/>
                <a:gd name="T16" fmla="*/ 30 w 344"/>
                <a:gd name="T17" fmla="*/ 17 h 348"/>
                <a:gd name="T18" fmla="*/ 29 w 344"/>
                <a:gd name="T19" fmla="*/ 18 h 348"/>
                <a:gd name="T20" fmla="*/ 26 w 344"/>
                <a:gd name="T21" fmla="*/ 22 h 348"/>
                <a:gd name="T22" fmla="*/ 25 w 344"/>
                <a:gd name="T23" fmla="*/ 23 h 348"/>
                <a:gd name="T24" fmla="*/ 23 w 344"/>
                <a:gd name="T25" fmla="*/ 26 h 348"/>
                <a:gd name="T26" fmla="*/ 22 w 344"/>
                <a:gd name="T27" fmla="*/ 28 h 348"/>
                <a:gd name="T28" fmla="*/ 20 w 344"/>
                <a:gd name="T29" fmla="*/ 31 h 348"/>
                <a:gd name="T30" fmla="*/ 19 w 344"/>
                <a:gd name="T31" fmla="*/ 33 h 348"/>
                <a:gd name="T32" fmla="*/ 18 w 344"/>
                <a:gd name="T33" fmla="*/ 35 h 348"/>
                <a:gd name="T34" fmla="*/ 16 w 344"/>
                <a:gd name="T35" fmla="*/ 39 h 348"/>
                <a:gd name="T36" fmla="*/ 16 w 344"/>
                <a:gd name="T37" fmla="*/ 40 h 348"/>
                <a:gd name="T38" fmla="*/ 13 w 344"/>
                <a:gd name="T39" fmla="*/ 44 h 348"/>
                <a:gd name="T40" fmla="*/ 13 w 344"/>
                <a:gd name="T41" fmla="*/ 45 h 348"/>
                <a:gd name="T42" fmla="*/ 10 w 344"/>
                <a:gd name="T43" fmla="*/ 51 h 348"/>
                <a:gd name="T44" fmla="*/ 10 w 344"/>
                <a:gd name="T45" fmla="*/ 51 h 348"/>
                <a:gd name="T46" fmla="*/ 8 w 344"/>
                <a:gd name="T47" fmla="*/ 57 h 348"/>
                <a:gd name="T48" fmla="*/ 7 w 344"/>
                <a:gd name="T49" fmla="*/ 58 h 348"/>
                <a:gd name="T50" fmla="*/ 5 w 344"/>
                <a:gd name="T51" fmla="*/ 63 h 348"/>
                <a:gd name="T52" fmla="*/ 4 w 344"/>
                <a:gd name="T53" fmla="*/ 65 h 348"/>
                <a:gd name="T54" fmla="*/ 2 w 344"/>
                <a:gd name="T55" fmla="*/ 71 h 348"/>
                <a:gd name="T56" fmla="*/ 3 w 344"/>
                <a:gd name="T57" fmla="*/ 95 h 348"/>
                <a:gd name="T58" fmla="*/ 169 w 344"/>
                <a:gd name="T59" fmla="*/ 296 h 348"/>
                <a:gd name="T60" fmla="*/ 273 w 344"/>
                <a:gd name="T61" fmla="*/ 342 h 348"/>
                <a:gd name="T62" fmla="*/ 279 w 344"/>
                <a:gd name="T63" fmla="*/ 340 h 348"/>
                <a:gd name="T64" fmla="*/ 281 w 344"/>
                <a:gd name="T65" fmla="*/ 339 h 348"/>
                <a:gd name="T66" fmla="*/ 286 w 344"/>
                <a:gd name="T67" fmla="*/ 337 h 348"/>
                <a:gd name="T68" fmla="*/ 287 w 344"/>
                <a:gd name="T69" fmla="*/ 337 h 348"/>
                <a:gd name="T70" fmla="*/ 293 w 344"/>
                <a:gd name="T71" fmla="*/ 334 h 348"/>
                <a:gd name="T72" fmla="*/ 293 w 344"/>
                <a:gd name="T73" fmla="*/ 334 h 348"/>
                <a:gd name="T74" fmla="*/ 299 w 344"/>
                <a:gd name="T75" fmla="*/ 332 h 348"/>
                <a:gd name="T76" fmla="*/ 299 w 344"/>
                <a:gd name="T77" fmla="*/ 331 h 348"/>
                <a:gd name="T78" fmla="*/ 304 w 344"/>
                <a:gd name="T79" fmla="*/ 329 h 348"/>
                <a:gd name="T80" fmla="*/ 305 w 344"/>
                <a:gd name="T81" fmla="*/ 329 h 348"/>
                <a:gd name="T82" fmla="*/ 309 w 344"/>
                <a:gd name="T83" fmla="*/ 327 h 348"/>
                <a:gd name="T84" fmla="*/ 310 w 344"/>
                <a:gd name="T85" fmla="*/ 326 h 348"/>
                <a:gd name="T86" fmla="*/ 313 w 344"/>
                <a:gd name="T87" fmla="*/ 324 h 348"/>
                <a:gd name="T88" fmla="*/ 315 w 344"/>
                <a:gd name="T89" fmla="*/ 323 h 348"/>
                <a:gd name="T90" fmla="*/ 317 w 344"/>
                <a:gd name="T91" fmla="*/ 322 h 348"/>
                <a:gd name="T92" fmla="*/ 321 w 344"/>
                <a:gd name="T93" fmla="*/ 319 h 348"/>
                <a:gd name="T94" fmla="*/ 322 w 344"/>
                <a:gd name="T95" fmla="*/ 318 h 348"/>
                <a:gd name="T96" fmla="*/ 326 w 344"/>
                <a:gd name="T97" fmla="*/ 316 h 348"/>
                <a:gd name="T98" fmla="*/ 327 w 344"/>
                <a:gd name="T99" fmla="*/ 315 h 348"/>
                <a:gd name="T100" fmla="*/ 332 w 344"/>
                <a:gd name="T101" fmla="*/ 312 h 348"/>
                <a:gd name="T102" fmla="*/ 333 w 344"/>
                <a:gd name="T103" fmla="*/ 311 h 348"/>
                <a:gd name="T104" fmla="*/ 337 w 344"/>
                <a:gd name="T105" fmla="*/ 308 h 348"/>
                <a:gd name="T106" fmla="*/ 339 w 344"/>
                <a:gd name="T107" fmla="*/ 306 h 348"/>
                <a:gd name="T108" fmla="*/ 344 w 344"/>
                <a:gd name="T109" fmla="*/ 302 h 348"/>
                <a:gd name="T110" fmla="*/ 338 w 344"/>
                <a:gd name="T111" fmla="*/ 306 h 348"/>
                <a:gd name="T112" fmla="*/ 223 w 344"/>
                <a:gd name="T113" fmla="*/ 254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44" h="348">
                  <a:moveTo>
                    <a:pt x="223" y="254"/>
                  </a:moveTo>
                  <a:cubicBezTo>
                    <a:pt x="138" y="190"/>
                    <a:pt x="56" y="90"/>
                    <a:pt x="40" y="33"/>
                  </a:cubicBezTo>
                  <a:cubicBezTo>
                    <a:pt x="37" y="22"/>
                    <a:pt x="37" y="13"/>
                    <a:pt x="39" y="6"/>
                  </a:cubicBezTo>
                  <a:cubicBezTo>
                    <a:pt x="40" y="4"/>
                    <a:pt x="41" y="2"/>
                    <a:pt x="43" y="0"/>
                  </a:cubicBezTo>
                  <a:cubicBezTo>
                    <a:pt x="41" y="1"/>
                    <a:pt x="40" y="3"/>
                    <a:pt x="39" y="5"/>
                  </a:cubicBezTo>
                  <a:cubicBezTo>
                    <a:pt x="38" y="5"/>
                    <a:pt x="38" y="6"/>
                    <a:pt x="37" y="6"/>
                  </a:cubicBezTo>
                  <a:cubicBezTo>
                    <a:pt x="36" y="8"/>
                    <a:pt x="35" y="9"/>
                    <a:pt x="34" y="11"/>
                  </a:cubicBezTo>
                  <a:cubicBezTo>
                    <a:pt x="34" y="11"/>
                    <a:pt x="33" y="11"/>
                    <a:pt x="33" y="12"/>
                  </a:cubicBezTo>
                  <a:cubicBezTo>
                    <a:pt x="32" y="13"/>
                    <a:pt x="31" y="15"/>
                    <a:pt x="30" y="17"/>
                  </a:cubicBezTo>
                  <a:cubicBezTo>
                    <a:pt x="29" y="17"/>
                    <a:pt x="29" y="17"/>
                    <a:pt x="29" y="18"/>
                  </a:cubicBezTo>
                  <a:cubicBezTo>
                    <a:pt x="28" y="19"/>
                    <a:pt x="27" y="20"/>
                    <a:pt x="26" y="22"/>
                  </a:cubicBezTo>
                  <a:cubicBezTo>
                    <a:pt x="26" y="22"/>
                    <a:pt x="26" y="23"/>
                    <a:pt x="25" y="23"/>
                  </a:cubicBezTo>
                  <a:cubicBezTo>
                    <a:pt x="25" y="24"/>
                    <a:pt x="24" y="25"/>
                    <a:pt x="23" y="26"/>
                  </a:cubicBezTo>
                  <a:cubicBezTo>
                    <a:pt x="23" y="27"/>
                    <a:pt x="22" y="28"/>
                    <a:pt x="22" y="28"/>
                  </a:cubicBezTo>
                  <a:cubicBezTo>
                    <a:pt x="21" y="29"/>
                    <a:pt x="21" y="30"/>
                    <a:pt x="20" y="31"/>
                  </a:cubicBezTo>
                  <a:cubicBezTo>
                    <a:pt x="20" y="32"/>
                    <a:pt x="19" y="33"/>
                    <a:pt x="19" y="33"/>
                  </a:cubicBezTo>
                  <a:cubicBezTo>
                    <a:pt x="19" y="34"/>
                    <a:pt x="18" y="34"/>
                    <a:pt x="18" y="35"/>
                  </a:cubicBezTo>
                  <a:cubicBezTo>
                    <a:pt x="17" y="36"/>
                    <a:pt x="17" y="38"/>
                    <a:pt x="16" y="39"/>
                  </a:cubicBezTo>
                  <a:cubicBezTo>
                    <a:pt x="16" y="39"/>
                    <a:pt x="16" y="39"/>
                    <a:pt x="16" y="40"/>
                  </a:cubicBezTo>
                  <a:cubicBezTo>
                    <a:pt x="15" y="41"/>
                    <a:pt x="14" y="43"/>
                    <a:pt x="13" y="44"/>
                  </a:cubicBezTo>
                  <a:cubicBezTo>
                    <a:pt x="13" y="45"/>
                    <a:pt x="13" y="45"/>
                    <a:pt x="13" y="45"/>
                  </a:cubicBezTo>
                  <a:cubicBezTo>
                    <a:pt x="12" y="47"/>
                    <a:pt x="11" y="49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3"/>
                    <a:pt x="8" y="55"/>
                    <a:pt x="8" y="57"/>
                  </a:cubicBezTo>
                  <a:cubicBezTo>
                    <a:pt x="7" y="57"/>
                    <a:pt x="7" y="57"/>
                    <a:pt x="7" y="58"/>
                  </a:cubicBezTo>
                  <a:cubicBezTo>
                    <a:pt x="6" y="59"/>
                    <a:pt x="6" y="61"/>
                    <a:pt x="5" y="63"/>
                  </a:cubicBezTo>
                  <a:cubicBezTo>
                    <a:pt x="5" y="63"/>
                    <a:pt x="5" y="64"/>
                    <a:pt x="4" y="65"/>
                  </a:cubicBezTo>
                  <a:cubicBezTo>
                    <a:pt x="3" y="67"/>
                    <a:pt x="3" y="69"/>
                    <a:pt x="2" y="71"/>
                  </a:cubicBezTo>
                  <a:cubicBezTo>
                    <a:pt x="0" y="76"/>
                    <a:pt x="1" y="85"/>
                    <a:pt x="3" y="95"/>
                  </a:cubicBezTo>
                  <a:cubicBezTo>
                    <a:pt x="18" y="147"/>
                    <a:pt x="92" y="237"/>
                    <a:pt x="169" y="296"/>
                  </a:cubicBezTo>
                  <a:cubicBezTo>
                    <a:pt x="217" y="332"/>
                    <a:pt x="255" y="348"/>
                    <a:pt x="273" y="342"/>
                  </a:cubicBezTo>
                  <a:cubicBezTo>
                    <a:pt x="275" y="342"/>
                    <a:pt x="276" y="341"/>
                    <a:pt x="279" y="340"/>
                  </a:cubicBezTo>
                  <a:cubicBezTo>
                    <a:pt x="279" y="340"/>
                    <a:pt x="280" y="340"/>
                    <a:pt x="281" y="339"/>
                  </a:cubicBezTo>
                  <a:cubicBezTo>
                    <a:pt x="282" y="339"/>
                    <a:pt x="284" y="338"/>
                    <a:pt x="286" y="337"/>
                  </a:cubicBezTo>
                  <a:cubicBezTo>
                    <a:pt x="286" y="337"/>
                    <a:pt x="287" y="337"/>
                    <a:pt x="287" y="337"/>
                  </a:cubicBezTo>
                  <a:cubicBezTo>
                    <a:pt x="289" y="336"/>
                    <a:pt x="291" y="335"/>
                    <a:pt x="293" y="334"/>
                  </a:cubicBezTo>
                  <a:cubicBezTo>
                    <a:pt x="293" y="334"/>
                    <a:pt x="293" y="334"/>
                    <a:pt x="293" y="334"/>
                  </a:cubicBezTo>
                  <a:cubicBezTo>
                    <a:pt x="295" y="334"/>
                    <a:pt x="297" y="333"/>
                    <a:pt x="299" y="332"/>
                  </a:cubicBezTo>
                  <a:cubicBezTo>
                    <a:pt x="299" y="332"/>
                    <a:pt x="299" y="332"/>
                    <a:pt x="299" y="331"/>
                  </a:cubicBezTo>
                  <a:cubicBezTo>
                    <a:pt x="301" y="331"/>
                    <a:pt x="302" y="330"/>
                    <a:pt x="304" y="329"/>
                  </a:cubicBezTo>
                  <a:cubicBezTo>
                    <a:pt x="304" y="329"/>
                    <a:pt x="305" y="329"/>
                    <a:pt x="305" y="329"/>
                  </a:cubicBezTo>
                  <a:cubicBezTo>
                    <a:pt x="306" y="328"/>
                    <a:pt x="307" y="327"/>
                    <a:pt x="309" y="327"/>
                  </a:cubicBezTo>
                  <a:cubicBezTo>
                    <a:pt x="309" y="326"/>
                    <a:pt x="310" y="326"/>
                    <a:pt x="310" y="326"/>
                  </a:cubicBezTo>
                  <a:cubicBezTo>
                    <a:pt x="311" y="325"/>
                    <a:pt x="312" y="325"/>
                    <a:pt x="313" y="324"/>
                  </a:cubicBezTo>
                  <a:cubicBezTo>
                    <a:pt x="314" y="324"/>
                    <a:pt x="315" y="323"/>
                    <a:pt x="315" y="323"/>
                  </a:cubicBezTo>
                  <a:cubicBezTo>
                    <a:pt x="316" y="322"/>
                    <a:pt x="317" y="322"/>
                    <a:pt x="317" y="322"/>
                  </a:cubicBezTo>
                  <a:cubicBezTo>
                    <a:pt x="318" y="321"/>
                    <a:pt x="319" y="320"/>
                    <a:pt x="321" y="319"/>
                  </a:cubicBezTo>
                  <a:cubicBezTo>
                    <a:pt x="321" y="319"/>
                    <a:pt x="322" y="319"/>
                    <a:pt x="322" y="318"/>
                  </a:cubicBezTo>
                  <a:cubicBezTo>
                    <a:pt x="323" y="318"/>
                    <a:pt x="325" y="317"/>
                    <a:pt x="326" y="316"/>
                  </a:cubicBezTo>
                  <a:cubicBezTo>
                    <a:pt x="326" y="316"/>
                    <a:pt x="327" y="315"/>
                    <a:pt x="327" y="315"/>
                  </a:cubicBezTo>
                  <a:cubicBezTo>
                    <a:pt x="329" y="314"/>
                    <a:pt x="330" y="313"/>
                    <a:pt x="332" y="312"/>
                  </a:cubicBezTo>
                  <a:cubicBezTo>
                    <a:pt x="332" y="311"/>
                    <a:pt x="333" y="311"/>
                    <a:pt x="333" y="311"/>
                  </a:cubicBezTo>
                  <a:cubicBezTo>
                    <a:pt x="335" y="310"/>
                    <a:pt x="336" y="308"/>
                    <a:pt x="337" y="308"/>
                  </a:cubicBezTo>
                  <a:cubicBezTo>
                    <a:pt x="338" y="307"/>
                    <a:pt x="339" y="307"/>
                    <a:pt x="339" y="306"/>
                  </a:cubicBezTo>
                  <a:cubicBezTo>
                    <a:pt x="341" y="305"/>
                    <a:pt x="343" y="303"/>
                    <a:pt x="344" y="302"/>
                  </a:cubicBezTo>
                  <a:cubicBezTo>
                    <a:pt x="342" y="304"/>
                    <a:pt x="340" y="305"/>
                    <a:pt x="338" y="306"/>
                  </a:cubicBezTo>
                  <a:cubicBezTo>
                    <a:pt x="318" y="312"/>
                    <a:pt x="276" y="295"/>
                    <a:pt x="223" y="25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4434207D-93F3-41F1-9EC2-956732160AD4}"/>
                </a:ext>
              </a:extLst>
            </p:cNvPr>
            <p:cNvSpPr/>
            <p:nvPr/>
          </p:nvSpPr>
          <p:spPr bwMode="auto">
            <a:xfrm rot="19847212">
              <a:off x="7120791" y="4238242"/>
              <a:ext cx="0" cy="0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9B9844CC-FD9F-4C6E-B3F6-9BF896F74472}"/>
                </a:ext>
              </a:extLst>
            </p:cNvPr>
            <p:cNvSpPr/>
            <p:nvPr/>
          </p:nvSpPr>
          <p:spPr bwMode="auto">
            <a:xfrm rot="19847212">
              <a:off x="7120791" y="4238242"/>
              <a:ext cx="0" cy="0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9425100B-7D48-4D42-908B-011B6366A1F2}"/>
                </a:ext>
              </a:extLst>
            </p:cNvPr>
            <p:cNvSpPr/>
            <p:nvPr/>
          </p:nvSpPr>
          <p:spPr bwMode="auto">
            <a:xfrm rot="19847212">
              <a:off x="4790063" y="2388975"/>
              <a:ext cx="2239759" cy="2448574"/>
            </a:xfrm>
            <a:custGeom>
              <a:avLst/>
              <a:gdLst>
                <a:gd name="T0" fmla="*/ 292 w 316"/>
                <a:gd name="T1" fmla="*/ 314 h 314"/>
                <a:gd name="T2" fmla="*/ 186 w 316"/>
                <a:gd name="T3" fmla="*/ 262 h 314"/>
                <a:gd name="T4" fmla="*/ 4 w 316"/>
                <a:gd name="T5" fmla="*/ 40 h 314"/>
                <a:gd name="T6" fmla="*/ 6 w 316"/>
                <a:gd name="T7" fmla="*/ 7 h 314"/>
                <a:gd name="T8" fmla="*/ 24 w 316"/>
                <a:gd name="T9" fmla="*/ 0 h 314"/>
                <a:gd name="T10" fmla="*/ 130 w 316"/>
                <a:gd name="T11" fmla="*/ 53 h 314"/>
                <a:gd name="T12" fmla="*/ 312 w 316"/>
                <a:gd name="T13" fmla="*/ 274 h 314"/>
                <a:gd name="T14" fmla="*/ 311 w 316"/>
                <a:gd name="T15" fmla="*/ 307 h 314"/>
                <a:gd name="T16" fmla="*/ 292 w 316"/>
                <a:gd name="T17" fmla="*/ 31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6" h="314">
                  <a:moveTo>
                    <a:pt x="292" y="314"/>
                  </a:moveTo>
                  <a:cubicBezTo>
                    <a:pt x="269" y="314"/>
                    <a:pt x="230" y="295"/>
                    <a:pt x="186" y="262"/>
                  </a:cubicBezTo>
                  <a:cubicBezTo>
                    <a:pt x="102" y="197"/>
                    <a:pt x="20" y="98"/>
                    <a:pt x="4" y="40"/>
                  </a:cubicBezTo>
                  <a:cubicBezTo>
                    <a:pt x="0" y="25"/>
                    <a:pt x="0" y="14"/>
                    <a:pt x="6" y="7"/>
                  </a:cubicBezTo>
                  <a:cubicBezTo>
                    <a:pt x="9" y="2"/>
                    <a:pt x="16" y="0"/>
                    <a:pt x="24" y="0"/>
                  </a:cubicBezTo>
                  <a:cubicBezTo>
                    <a:pt x="47" y="0"/>
                    <a:pt x="86" y="19"/>
                    <a:pt x="130" y="53"/>
                  </a:cubicBezTo>
                  <a:cubicBezTo>
                    <a:pt x="214" y="117"/>
                    <a:pt x="296" y="217"/>
                    <a:pt x="312" y="274"/>
                  </a:cubicBezTo>
                  <a:cubicBezTo>
                    <a:pt x="316" y="289"/>
                    <a:pt x="316" y="300"/>
                    <a:pt x="311" y="307"/>
                  </a:cubicBezTo>
                  <a:cubicBezTo>
                    <a:pt x="307" y="312"/>
                    <a:pt x="300" y="314"/>
                    <a:pt x="292" y="31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26621E19-A5DA-46D6-A682-E4816665C753}"/>
                </a:ext>
              </a:extLst>
            </p:cNvPr>
            <p:cNvSpPr/>
            <p:nvPr/>
          </p:nvSpPr>
          <p:spPr bwMode="auto">
            <a:xfrm rot="19847212">
              <a:off x="4651651" y="3476833"/>
              <a:ext cx="1737383" cy="1919418"/>
            </a:xfrm>
            <a:custGeom>
              <a:avLst/>
              <a:gdLst>
                <a:gd name="T0" fmla="*/ 245 w 245"/>
                <a:gd name="T1" fmla="*/ 243 h 246"/>
                <a:gd name="T2" fmla="*/ 154 w 245"/>
                <a:gd name="T3" fmla="*/ 200 h 246"/>
                <a:gd name="T4" fmla="*/ 3 w 245"/>
                <a:gd name="T5" fmla="*/ 0 h 246"/>
                <a:gd name="T6" fmla="*/ 3 w 245"/>
                <a:gd name="T7" fmla="*/ 0 h 246"/>
                <a:gd name="T8" fmla="*/ 1 w 245"/>
                <a:gd name="T9" fmla="*/ 21 h 246"/>
                <a:gd name="T10" fmla="*/ 1 w 245"/>
                <a:gd name="T11" fmla="*/ 23 h 246"/>
                <a:gd name="T12" fmla="*/ 1 w 245"/>
                <a:gd name="T13" fmla="*/ 31 h 246"/>
                <a:gd name="T14" fmla="*/ 1 w 245"/>
                <a:gd name="T15" fmla="*/ 43 h 246"/>
                <a:gd name="T16" fmla="*/ 2 w 245"/>
                <a:gd name="T17" fmla="*/ 53 h 246"/>
                <a:gd name="T18" fmla="*/ 6 w 245"/>
                <a:gd name="T19" fmla="*/ 79 h 246"/>
                <a:gd name="T20" fmla="*/ 7 w 245"/>
                <a:gd name="T21" fmla="*/ 84 h 246"/>
                <a:gd name="T22" fmla="*/ 8 w 245"/>
                <a:gd name="T23" fmla="*/ 86 h 246"/>
                <a:gd name="T24" fmla="*/ 10 w 245"/>
                <a:gd name="T25" fmla="*/ 93 h 246"/>
                <a:gd name="T26" fmla="*/ 11 w 245"/>
                <a:gd name="T27" fmla="*/ 97 h 246"/>
                <a:gd name="T28" fmla="*/ 12 w 245"/>
                <a:gd name="T29" fmla="*/ 101 h 246"/>
                <a:gd name="T30" fmla="*/ 12 w 245"/>
                <a:gd name="T31" fmla="*/ 102 h 246"/>
                <a:gd name="T32" fmla="*/ 15 w 245"/>
                <a:gd name="T33" fmla="*/ 110 h 246"/>
                <a:gd name="T34" fmla="*/ 24 w 245"/>
                <a:gd name="T35" fmla="*/ 129 h 246"/>
                <a:gd name="T36" fmla="*/ 26 w 245"/>
                <a:gd name="T37" fmla="*/ 132 h 246"/>
                <a:gd name="T38" fmla="*/ 30 w 245"/>
                <a:gd name="T39" fmla="*/ 139 h 246"/>
                <a:gd name="T40" fmla="*/ 32 w 245"/>
                <a:gd name="T41" fmla="*/ 143 h 246"/>
                <a:gd name="T42" fmla="*/ 34 w 245"/>
                <a:gd name="T43" fmla="*/ 147 h 246"/>
                <a:gd name="T44" fmla="*/ 36 w 245"/>
                <a:gd name="T45" fmla="*/ 150 h 246"/>
                <a:gd name="T46" fmla="*/ 42 w 245"/>
                <a:gd name="T47" fmla="*/ 158 h 246"/>
                <a:gd name="T48" fmla="*/ 54 w 245"/>
                <a:gd name="T49" fmla="*/ 173 h 246"/>
                <a:gd name="T50" fmla="*/ 56 w 245"/>
                <a:gd name="T51" fmla="*/ 176 h 246"/>
                <a:gd name="T52" fmla="*/ 63 w 245"/>
                <a:gd name="T53" fmla="*/ 183 h 246"/>
                <a:gd name="T54" fmla="*/ 67 w 245"/>
                <a:gd name="T55" fmla="*/ 186 h 246"/>
                <a:gd name="T56" fmla="*/ 80 w 245"/>
                <a:gd name="T57" fmla="*/ 198 h 246"/>
                <a:gd name="T58" fmla="*/ 85 w 245"/>
                <a:gd name="T59" fmla="*/ 202 h 246"/>
                <a:gd name="T60" fmla="*/ 90 w 245"/>
                <a:gd name="T61" fmla="*/ 206 h 246"/>
                <a:gd name="T62" fmla="*/ 98 w 245"/>
                <a:gd name="T63" fmla="*/ 211 h 246"/>
                <a:gd name="T64" fmla="*/ 109 w 245"/>
                <a:gd name="T65" fmla="*/ 218 h 246"/>
                <a:gd name="T66" fmla="*/ 112 w 245"/>
                <a:gd name="T67" fmla="*/ 219 h 246"/>
                <a:gd name="T68" fmla="*/ 116 w 245"/>
                <a:gd name="T69" fmla="*/ 221 h 246"/>
                <a:gd name="T70" fmla="*/ 120 w 245"/>
                <a:gd name="T71" fmla="*/ 223 h 246"/>
                <a:gd name="T72" fmla="*/ 123 w 245"/>
                <a:gd name="T73" fmla="*/ 225 h 246"/>
                <a:gd name="T74" fmla="*/ 137 w 245"/>
                <a:gd name="T75" fmla="*/ 231 h 246"/>
                <a:gd name="T76" fmla="*/ 149 w 245"/>
                <a:gd name="T77" fmla="*/ 235 h 246"/>
                <a:gd name="T78" fmla="*/ 163 w 245"/>
                <a:gd name="T79" fmla="*/ 239 h 246"/>
                <a:gd name="T80" fmla="*/ 166 w 245"/>
                <a:gd name="T81" fmla="*/ 240 h 246"/>
                <a:gd name="T82" fmla="*/ 172 w 245"/>
                <a:gd name="T83" fmla="*/ 241 h 246"/>
                <a:gd name="T84" fmla="*/ 182 w 245"/>
                <a:gd name="T85" fmla="*/ 243 h 246"/>
                <a:gd name="T86" fmla="*/ 190 w 245"/>
                <a:gd name="T87" fmla="*/ 244 h 246"/>
                <a:gd name="T88" fmla="*/ 197 w 245"/>
                <a:gd name="T89" fmla="*/ 245 h 246"/>
                <a:gd name="T90" fmla="*/ 203 w 245"/>
                <a:gd name="T91" fmla="*/ 245 h 246"/>
                <a:gd name="T92" fmla="*/ 222 w 245"/>
                <a:gd name="T93" fmla="*/ 245 h 246"/>
                <a:gd name="T94" fmla="*/ 239 w 245"/>
                <a:gd name="T95" fmla="*/ 244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45" h="246">
                  <a:moveTo>
                    <a:pt x="245" y="243"/>
                  </a:moveTo>
                  <a:cubicBezTo>
                    <a:pt x="245" y="243"/>
                    <a:pt x="245" y="243"/>
                    <a:pt x="245" y="243"/>
                  </a:cubicBezTo>
                  <a:cubicBezTo>
                    <a:pt x="245" y="243"/>
                    <a:pt x="245" y="243"/>
                    <a:pt x="245" y="243"/>
                  </a:cubicBezTo>
                  <a:cubicBezTo>
                    <a:pt x="227" y="246"/>
                    <a:pt x="195" y="231"/>
                    <a:pt x="154" y="200"/>
                  </a:cubicBezTo>
                  <a:cubicBezTo>
                    <a:pt x="85" y="147"/>
                    <a:pt x="18" y="66"/>
                    <a:pt x="5" y="18"/>
                  </a:cubicBezTo>
                  <a:cubicBezTo>
                    <a:pt x="3" y="11"/>
                    <a:pt x="2" y="5"/>
                    <a:pt x="3" y="0"/>
                  </a:cubicBezTo>
                  <a:cubicBezTo>
                    <a:pt x="2" y="5"/>
                    <a:pt x="2" y="11"/>
                    <a:pt x="1" y="16"/>
                  </a:cubicBezTo>
                  <a:cubicBezTo>
                    <a:pt x="2" y="11"/>
                    <a:pt x="2" y="5"/>
                    <a:pt x="3" y="0"/>
                  </a:cubicBezTo>
                  <a:cubicBezTo>
                    <a:pt x="2" y="7"/>
                    <a:pt x="1" y="14"/>
                    <a:pt x="1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1" y="21"/>
                    <a:pt x="1" y="21"/>
                    <a:pt x="1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1" y="24"/>
                    <a:pt x="1" y="25"/>
                    <a:pt x="1" y="26"/>
                  </a:cubicBezTo>
                  <a:cubicBezTo>
                    <a:pt x="1" y="28"/>
                    <a:pt x="1" y="29"/>
                    <a:pt x="1" y="31"/>
                  </a:cubicBezTo>
                  <a:cubicBezTo>
                    <a:pt x="1" y="31"/>
                    <a:pt x="1" y="32"/>
                    <a:pt x="1" y="32"/>
                  </a:cubicBezTo>
                  <a:cubicBezTo>
                    <a:pt x="0" y="36"/>
                    <a:pt x="1" y="39"/>
                    <a:pt x="1" y="43"/>
                  </a:cubicBezTo>
                  <a:cubicBezTo>
                    <a:pt x="1" y="44"/>
                    <a:pt x="1" y="44"/>
                    <a:pt x="1" y="45"/>
                  </a:cubicBezTo>
                  <a:cubicBezTo>
                    <a:pt x="1" y="47"/>
                    <a:pt x="1" y="50"/>
                    <a:pt x="2" y="53"/>
                  </a:cubicBezTo>
                  <a:cubicBezTo>
                    <a:pt x="2" y="53"/>
                    <a:pt x="2" y="53"/>
                    <a:pt x="2" y="54"/>
                  </a:cubicBezTo>
                  <a:cubicBezTo>
                    <a:pt x="2" y="55"/>
                    <a:pt x="3" y="65"/>
                    <a:pt x="6" y="79"/>
                  </a:cubicBezTo>
                  <a:cubicBezTo>
                    <a:pt x="6" y="79"/>
                    <a:pt x="6" y="80"/>
                    <a:pt x="6" y="80"/>
                  </a:cubicBezTo>
                  <a:cubicBezTo>
                    <a:pt x="6" y="81"/>
                    <a:pt x="7" y="82"/>
                    <a:pt x="7" y="84"/>
                  </a:cubicBezTo>
                  <a:cubicBezTo>
                    <a:pt x="7" y="84"/>
                    <a:pt x="7" y="84"/>
                    <a:pt x="7" y="84"/>
                  </a:cubicBezTo>
                  <a:cubicBezTo>
                    <a:pt x="7" y="85"/>
                    <a:pt x="8" y="86"/>
                    <a:pt x="8" y="86"/>
                  </a:cubicBezTo>
                  <a:cubicBezTo>
                    <a:pt x="8" y="87"/>
                    <a:pt x="8" y="88"/>
                    <a:pt x="8" y="88"/>
                  </a:cubicBezTo>
                  <a:cubicBezTo>
                    <a:pt x="8" y="89"/>
                    <a:pt x="9" y="90"/>
                    <a:pt x="10" y="93"/>
                  </a:cubicBezTo>
                  <a:cubicBezTo>
                    <a:pt x="10" y="94"/>
                    <a:pt x="10" y="94"/>
                    <a:pt x="10" y="95"/>
                  </a:cubicBezTo>
                  <a:cubicBezTo>
                    <a:pt x="10" y="95"/>
                    <a:pt x="10" y="96"/>
                    <a:pt x="11" y="97"/>
                  </a:cubicBezTo>
                  <a:cubicBezTo>
                    <a:pt x="11" y="97"/>
                    <a:pt x="11" y="97"/>
                    <a:pt x="11" y="98"/>
                  </a:cubicBezTo>
                  <a:cubicBezTo>
                    <a:pt x="11" y="99"/>
                    <a:pt x="12" y="100"/>
                    <a:pt x="12" y="101"/>
                  </a:cubicBezTo>
                  <a:cubicBezTo>
                    <a:pt x="12" y="101"/>
                    <a:pt x="12" y="101"/>
                    <a:pt x="12" y="101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3" y="104"/>
                    <a:pt x="14" y="106"/>
                    <a:pt x="15" y="109"/>
                  </a:cubicBezTo>
                  <a:cubicBezTo>
                    <a:pt x="15" y="109"/>
                    <a:pt x="15" y="110"/>
                    <a:pt x="15" y="110"/>
                  </a:cubicBezTo>
                  <a:cubicBezTo>
                    <a:pt x="15" y="110"/>
                    <a:pt x="16" y="110"/>
                    <a:pt x="16" y="110"/>
                  </a:cubicBezTo>
                  <a:cubicBezTo>
                    <a:pt x="18" y="117"/>
                    <a:pt x="20" y="120"/>
                    <a:pt x="24" y="129"/>
                  </a:cubicBezTo>
                  <a:cubicBezTo>
                    <a:pt x="24" y="129"/>
                    <a:pt x="24" y="130"/>
                    <a:pt x="26" y="132"/>
                  </a:cubicBezTo>
                  <a:cubicBezTo>
                    <a:pt x="26" y="132"/>
                    <a:pt x="26" y="132"/>
                    <a:pt x="26" y="132"/>
                  </a:cubicBezTo>
                  <a:cubicBezTo>
                    <a:pt x="27" y="134"/>
                    <a:pt x="28" y="137"/>
                    <a:pt x="30" y="139"/>
                  </a:cubicBezTo>
                  <a:cubicBezTo>
                    <a:pt x="30" y="139"/>
                    <a:pt x="30" y="139"/>
                    <a:pt x="30" y="139"/>
                  </a:cubicBezTo>
                  <a:cubicBezTo>
                    <a:pt x="30" y="139"/>
                    <a:pt x="30" y="140"/>
                    <a:pt x="30" y="140"/>
                  </a:cubicBezTo>
                  <a:cubicBezTo>
                    <a:pt x="31" y="141"/>
                    <a:pt x="31" y="142"/>
                    <a:pt x="32" y="143"/>
                  </a:cubicBezTo>
                  <a:cubicBezTo>
                    <a:pt x="33" y="144"/>
                    <a:pt x="33" y="145"/>
                    <a:pt x="34" y="147"/>
                  </a:cubicBezTo>
                  <a:cubicBezTo>
                    <a:pt x="34" y="147"/>
                    <a:pt x="34" y="147"/>
                    <a:pt x="34" y="147"/>
                  </a:cubicBezTo>
                  <a:cubicBezTo>
                    <a:pt x="35" y="148"/>
                    <a:pt x="35" y="148"/>
                    <a:pt x="36" y="149"/>
                  </a:cubicBezTo>
                  <a:cubicBezTo>
                    <a:pt x="36" y="149"/>
                    <a:pt x="36" y="149"/>
                    <a:pt x="36" y="150"/>
                  </a:cubicBezTo>
                  <a:cubicBezTo>
                    <a:pt x="36" y="150"/>
                    <a:pt x="36" y="150"/>
                    <a:pt x="37" y="150"/>
                  </a:cubicBezTo>
                  <a:cubicBezTo>
                    <a:pt x="38" y="153"/>
                    <a:pt x="40" y="155"/>
                    <a:pt x="42" y="158"/>
                  </a:cubicBezTo>
                  <a:cubicBezTo>
                    <a:pt x="42" y="158"/>
                    <a:pt x="42" y="159"/>
                    <a:pt x="43" y="159"/>
                  </a:cubicBezTo>
                  <a:cubicBezTo>
                    <a:pt x="45" y="163"/>
                    <a:pt x="49" y="168"/>
                    <a:pt x="54" y="173"/>
                  </a:cubicBezTo>
                  <a:cubicBezTo>
                    <a:pt x="55" y="174"/>
                    <a:pt x="55" y="175"/>
                    <a:pt x="56" y="176"/>
                  </a:cubicBezTo>
                  <a:cubicBezTo>
                    <a:pt x="56" y="176"/>
                    <a:pt x="56" y="176"/>
                    <a:pt x="56" y="176"/>
                  </a:cubicBezTo>
                  <a:cubicBezTo>
                    <a:pt x="58" y="178"/>
                    <a:pt x="60" y="180"/>
                    <a:pt x="62" y="182"/>
                  </a:cubicBezTo>
                  <a:cubicBezTo>
                    <a:pt x="62" y="182"/>
                    <a:pt x="63" y="182"/>
                    <a:pt x="63" y="183"/>
                  </a:cubicBezTo>
                  <a:cubicBezTo>
                    <a:pt x="64" y="184"/>
                    <a:pt x="65" y="185"/>
                    <a:pt x="66" y="185"/>
                  </a:cubicBezTo>
                  <a:cubicBezTo>
                    <a:pt x="66" y="186"/>
                    <a:pt x="67" y="186"/>
                    <a:pt x="67" y="186"/>
                  </a:cubicBezTo>
                  <a:cubicBezTo>
                    <a:pt x="67" y="187"/>
                    <a:pt x="68" y="188"/>
                    <a:pt x="69" y="188"/>
                  </a:cubicBezTo>
                  <a:cubicBezTo>
                    <a:pt x="73" y="192"/>
                    <a:pt x="76" y="195"/>
                    <a:pt x="80" y="198"/>
                  </a:cubicBezTo>
                  <a:cubicBezTo>
                    <a:pt x="80" y="198"/>
                    <a:pt x="80" y="198"/>
                    <a:pt x="81" y="199"/>
                  </a:cubicBezTo>
                  <a:cubicBezTo>
                    <a:pt x="82" y="200"/>
                    <a:pt x="83" y="201"/>
                    <a:pt x="85" y="202"/>
                  </a:cubicBezTo>
                  <a:cubicBezTo>
                    <a:pt x="85" y="202"/>
                    <a:pt x="85" y="202"/>
                    <a:pt x="86" y="202"/>
                  </a:cubicBezTo>
                  <a:cubicBezTo>
                    <a:pt x="87" y="204"/>
                    <a:pt x="89" y="205"/>
                    <a:pt x="90" y="206"/>
                  </a:cubicBezTo>
                  <a:cubicBezTo>
                    <a:pt x="90" y="206"/>
                    <a:pt x="90" y="206"/>
                    <a:pt x="90" y="206"/>
                  </a:cubicBezTo>
                  <a:cubicBezTo>
                    <a:pt x="94" y="208"/>
                    <a:pt x="97" y="210"/>
                    <a:pt x="98" y="211"/>
                  </a:cubicBezTo>
                  <a:cubicBezTo>
                    <a:pt x="102" y="213"/>
                    <a:pt x="105" y="215"/>
                    <a:pt x="108" y="217"/>
                  </a:cubicBezTo>
                  <a:cubicBezTo>
                    <a:pt x="108" y="217"/>
                    <a:pt x="108" y="217"/>
                    <a:pt x="109" y="218"/>
                  </a:cubicBezTo>
                  <a:cubicBezTo>
                    <a:pt x="110" y="218"/>
                    <a:pt x="110" y="218"/>
                    <a:pt x="111" y="219"/>
                  </a:cubicBezTo>
                  <a:cubicBezTo>
                    <a:pt x="112" y="219"/>
                    <a:pt x="112" y="219"/>
                    <a:pt x="112" y="219"/>
                  </a:cubicBezTo>
                  <a:cubicBezTo>
                    <a:pt x="113" y="220"/>
                    <a:pt x="114" y="221"/>
                    <a:pt x="115" y="221"/>
                  </a:cubicBezTo>
                  <a:cubicBezTo>
                    <a:pt x="116" y="221"/>
                    <a:pt x="116" y="221"/>
                    <a:pt x="116" y="221"/>
                  </a:cubicBezTo>
                  <a:cubicBezTo>
                    <a:pt x="117" y="222"/>
                    <a:pt x="118" y="222"/>
                    <a:pt x="119" y="223"/>
                  </a:cubicBezTo>
                  <a:cubicBezTo>
                    <a:pt x="119" y="223"/>
                    <a:pt x="119" y="223"/>
                    <a:pt x="120" y="223"/>
                  </a:cubicBezTo>
                  <a:cubicBezTo>
                    <a:pt x="120" y="224"/>
                    <a:pt x="121" y="224"/>
                    <a:pt x="122" y="224"/>
                  </a:cubicBezTo>
                  <a:cubicBezTo>
                    <a:pt x="122" y="225"/>
                    <a:pt x="123" y="225"/>
                    <a:pt x="123" y="225"/>
                  </a:cubicBezTo>
                  <a:cubicBezTo>
                    <a:pt x="124" y="225"/>
                    <a:pt x="124" y="226"/>
                    <a:pt x="125" y="226"/>
                  </a:cubicBezTo>
                  <a:cubicBezTo>
                    <a:pt x="129" y="228"/>
                    <a:pt x="134" y="230"/>
                    <a:pt x="137" y="231"/>
                  </a:cubicBezTo>
                  <a:cubicBezTo>
                    <a:pt x="140" y="232"/>
                    <a:pt x="145" y="234"/>
                    <a:pt x="148" y="235"/>
                  </a:cubicBezTo>
                  <a:cubicBezTo>
                    <a:pt x="148" y="235"/>
                    <a:pt x="149" y="235"/>
                    <a:pt x="149" y="235"/>
                  </a:cubicBezTo>
                  <a:cubicBezTo>
                    <a:pt x="153" y="236"/>
                    <a:pt x="156" y="237"/>
                    <a:pt x="161" y="239"/>
                  </a:cubicBezTo>
                  <a:cubicBezTo>
                    <a:pt x="162" y="239"/>
                    <a:pt x="162" y="239"/>
                    <a:pt x="163" y="239"/>
                  </a:cubicBezTo>
                  <a:cubicBezTo>
                    <a:pt x="163" y="239"/>
                    <a:pt x="163" y="239"/>
                    <a:pt x="164" y="239"/>
                  </a:cubicBezTo>
                  <a:cubicBezTo>
                    <a:pt x="164" y="239"/>
                    <a:pt x="165" y="240"/>
                    <a:pt x="166" y="240"/>
                  </a:cubicBezTo>
                  <a:cubicBezTo>
                    <a:pt x="166" y="240"/>
                    <a:pt x="166" y="240"/>
                    <a:pt x="167" y="240"/>
                  </a:cubicBezTo>
                  <a:cubicBezTo>
                    <a:pt x="169" y="240"/>
                    <a:pt x="170" y="241"/>
                    <a:pt x="172" y="241"/>
                  </a:cubicBezTo>
                  <a:cubicBezTo>
                    <a:pt x="175" y="242"/>
                    <a:pt x="177" y="242"/>
                    <a:pt x="180" y="243"/>
                  </a:cubicBezTo>
                  <a:cubicBezTo>
                    <a:pt x="180" y="243"/>
                    <a:pt x="181" y="243"/>
                    <a:pt x="182" y="243"/>
                  </a:cubicBezTo>
                  <a:cubicBezTo>
                    <a:pt x="182" y="243"/>
                    <a:pt x="182" y="243"/>
                    <a:pt x="182" y="243"/>
                  </a:cubicBezTo>
                  <a:cubicBezTo>
                    <a:pt x="186" y="244"/>
                    <a:pt x="190" y="244"/>
                    <a:pt x="190" y="244"/>
                  </a:cubicBezTo>
                  <a:cubicBezTo>
                    <a:pt x="190" y="244"/>
                    <a:pt x="190" y="244"/>
                    <a:pt x="191" y="244"/>
                  </a:cubicBezTo>
                  <a:cubicBezTo>
                    <a:pt x="193" y="244"/>
                    <a:pt x="196" y="245"/>
                    <a:pt x="197" y="245"/>
                  </a:cubicBezTo>
                  <a:cubicBezTo>
                    <a:pt x="198" y="245"/>
                    <a:pt x="199" y="245"/>
                    <a:pt x="200" y="245"/>
                  </a:cubicBezTo>
                  <a:cubicBezTo>
                    <a:pt x="201" y="245"/>
                    <a:pt x="203" y="245"/>
                    <a:pt x="203" y="245"/>
                  </a:cubicBezTo>
                  <a:cubicBezTo>
                    <a:pt x="213" y="245"/>
                    <a:pt x="216" y="245"/>
                    <a:pt x="222" y="245"/>
                  </a:cubicBezTo>
                  <a:cubicBezTo>
                    <a:pt x="222" y="245"/>
                    <a:pt x="222" y="245"/>
                    <a:pt x="222" y="245"/>
                  </a:cubicBezTo>
                  <a:cubicBezTo>
                    <a:pt x="222" y="245"/>
                    <a:pt x="229" y="245"/>
                    <a:pt x="239" y="244"/>
                  </a:cubicBezTo>
                  <a:cubicBezTo>
                    <a:pt x="239" y="244"/>
                    <a:pt x="239" y="244"/>
                    <a:pt x="239" y="244"/>
                  </a:cubicBezTo>
                  <a:cubicBezTo>
                    <a:pt x="241" y="244"/>
                    <a:pt x="243" y="243"/>
                    <a:pt x="245" y="243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7C8D47A3-E49E-4125-8B35-200CA0BDE4A7}"/>
                </a:ext>
              </a:extLst>
            </p:cNvPr>
            <p:cNvSpPr/>
            <p:nvPr/>
          </p:nvSpPr>
          <p:spPr bwMode="auto">
            <a:xfrm rot="19847212">
              <a:off x="4886972" y="1684357"/>
              <a:ext cx="2033425" cy="2225080"/>
            </a:xfrm>
            <a:custGeom>
              <a:avLst/>
              <a:gdLst>
                <a:gd name="T0" fmla="*/ 265 w 287"/>
                <a:gd name="T1" fmla="*/ 285 h 285"/>
                <a:gd name="T2" fmla="*/ 169 w 287"/>
                <a:gd name="T3" fmla="*/ 237 h 285"/>
                <a:gd name="T4" fmla="*/ 4 w 287"/>
                <a:gd name="T5" fmla="*/ 36 h 285"/>
                <a:gd name="T6" fmla="*/ 5 w 287"/>
                <a:gd name="T7" fmla="*/ 6 h 285"/>
                <a:gd name="T8" fmla="*/ 22 w 287"/>
                <a:gd name="T9" fmla="*/ 0 h 285"/>
                <a:gd name="T10" fmla="*/ 118 w 287"/>
                <a:gd name="T11" fmla="*/ 47 h 285"/>
                <a:gd name="T12" fmla="*/ 283 w 287"/>
                <a:gd name="T13" fmla="*/ 248 h 285"/>
                <a:gd name="T14" fmla="*/ 282 w 287"/>
                <a:gd name="T15" fmla="*/ 278 h 285"/>
                <a:gd name="T16" fmla="*/ 265 w 287"/>
                <a:gd name="T17" fmla="*/ 28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7" h="285">
                  <a:moveTo>
                    <a:pt x="265" y="285"/>
                  </a:moveTo>
                  <a:cubicBezTo>
                    <a:pt x="244" y="285"/>
                    <a:pt x="209" y="267"/>
                    <a:pt x="169" y="237"/>
                  </a:cubicBezTo>
                  <a:cubicBezTo>
                    <a:pt x="92" y="178"/>
                    <a:pt x="18" y="88"/>
                    <a:pt x="4" y="36"/>
                  </a:cubicBezTo>
                  <a:cubicBezTo>
                    <a:pt x="0" y="22"/>
                    <a:pt x="0" y="13"/>
                    <a:pt x="5" y="6"/>
                  </a:cubicBezTo>
                  <a:cubicBezTo>
                    <a:pt x="8" y="2"/>
                    <a:pt x="14" y="0"/>
                    <a:pt x="22" y="0"/>
                  </a:cubicBezTo>
                  <a:cubicBezTo>
                    <a:pt x="43" y="0"/>
                    <a:pt x="78" y="17"/>
                    <a:pt x="118" y="47"/>
                  </a:cubicBezTo>
                  <a:cubicBezTo>
                    <a:pt x="194" y="106"/>
                    <a:pt x="269" y="196"/>
                    <a:pt x="283" y="248"/>
                  </a:cubicBezTo>
                  <a:cubicBezTo>
                    <a:pt x="287" y="262"/>
                    <a:pt x="286" y="272"/>
                    <a:pt x="282" y="278"/>
                  </a:cubicBezTo>
                  <a:cubicBezTo>
                    <a:pt x="278" y="283"/>
                    <a:pt x="273" y="285"/>
                    <a:pt x="265" y="28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5617A1F4-3C0F-4E3A-9351-F8B5A3D030D6}"/>
                </a:ext>
              </a:extLst>
            </p:cNvPr>
            <p:cNvSpPr/>
            <p:nvPr/>
          </p:nvSpPr>
          <p:spPr bwMode="auto">
            <a:xfrm rot="19847212">
              <a:off x="4593047" y="1772982"/>
              <a:ext cx="2481975" cy="2803535"/>
            </a:xfrm>
            <a:custGeom>
              <a:avLst/>
              <a:gdLst>
                <a:gd name="T0" fmla="*/ 310 w 350"/>
                <a:gd name="T1" fmla="*/ 342 h 359"/>
                <a:gd name="T2" fmla="*/ 350 w 350"/>
                <a:gd name="T3" fmla="*/ 272 h 359"/>
                <a:gd name="T4" fmla="*/ 235 w 350"/>
                <a:gd name="T5" fmla="*/ 236 h 359"/>
                <a:gd name="T6" fmla="*/ 70 w 350"/>
                <a:gd name="T7" fmla="*/ 35 h 359"/>
                <a:gd name="T8" fmla="*/ 79 w 350"/>
                <a:gd name="T9" fmla="*/ 0 h 359"/>
                <a:gd name="T10" fmla="*/ 8 w 350"/>
                <a:gd name="T11" fmla="*/ 40 h 359"/>
                <a:gd name="T12" fmla="*/ 4 w 350"/>
                <a:gd name="T13" fmla="*/ 75 h 359"/>
                <a:gd name="T14" fmla="*/ 187 w 350"/>
                <a:gd name="T15" fmla="*/ 296 h 359"/>
                <a:gd name="T16" fmla="*/ 310 w 350"/>
                <a:gd name="T17" fmla="*/ 342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0" h="359">
                  <a:moveTo>
                    <a:pt x="310" y="342"/>
                  </a:moveTo>
                  <a:cubicBezTo>
                    <a:pt x="336" y="312"/>
                    <a:pt x="346" y="283"/>
                    <a:pt x="350" y="272"/>
                  </a:cubicBezTo>
                  <a:cubicBezTo>
                    <a:pt x="342" y="296"/>
                    <a:pt x="297" y="283"/>
                    <a:pt x="235" y="236"/>
                  </a:cubicBezTo>
                  <a:cubicBezTo>
                    <a:pt x="158" y="177"/>
                    <a:pt x="84" y="87"/>
                    <a:pt x="70" y="35"/>
                  </a:cubicBezTo>
                  <a:cubicBezTo>
                    <a:pt x="65" y="15"/>
                    <a:pt x="68" y="4"/>
                    <a:pt x="79" y="0"/>
                  </a:cubicBezTo>
                  <a:cubicBezTo>
                    <a:pt x="41" y="13"/>
                    <a:pt x="17" y="33"/>
                    <a:pt x="8" y="40"/>
                  </a:cubicBezTo>
                  <a:cubicBezTo>
                    <a:pt x="1" y="46"/>
                    <a:pt x="0" y="58"/>
                    <a:pt x="4" y="75"/>
                  </a:cubicBezTo>
                  <a:cubicBezTo>
                    <a:pt x="20" y="133"/>
                    <a:pt x="102" y="232"/>
                    <a:pt x="187" y="296"/>
                  </a:cubicBezTo>
                  <a:cubicBezTo>
                    <a:pt x="249" y="344"/>
                    <a:pt x="295" y="359"/>
                    <a:pt x="310" y="34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D1305AD0-4478-4727-906E-89D48E95E6BE}"/>
                </a:ext>
              </a:extLst>
            </p:cNvPr>
            <p:cNvSpPr/>
            <p:nvPr/>
          </p:nvSpPr>
          <p:spPr bwMode="auto">
            <a:xfrm rot="19847212">
              <a:off x="5469673" y="1659533"/>
              <a:ext cx="1856997" cy="2113333"/>
            </a:xfrm>
            <a:custGeom>
              <a:avLst/>
              <a:gdLst>
                <a:gd name="T0" fmla="*/ 259 w 262"/>
                <a:gd name="T1" fmla="*/ 245 h 271"/>
                <a:gd name="T2" fmla="*/ 261 w 262"/>
                <a:gd name="T3" fmla="*/ 200 h 271"/>
                <a:gd name="T4" fmla="*/ 259 w 262"/>
                <a:gd name="T5" fmla="*/ 180 h 271"/>
                <a:gd name="T6" fmla="*/ 256 w 262"/>
                <a:gd name="T7" fmla="*/ 167 h 271"/>
                <a:gd name="T8" fmla="*/ 254 w 262"/>
                <a:gd name="T9" fmla="*/ 157 h 271"/>
                <a:gd name="T10" fmla="*/ 242 w 262"/>
                <a:gd name="T11" fmla="*/ 124 h 271"/>
                <a:gd name="T12" fmla="*/ 226 w 262"/>
                <a:gd name="T13" fmla="*/ 96 h 271"/>
                <a:gd name="T14" fmla="*/ 203 w 262"/>
                <a:gd name="T15" fmla="*/ 67 h 271"/>
                <a:gd name="T16" fmla="*/ 178 w 262"/>
                <a:gd name="T17" fmla="*/ 44 h 271"/>
                <a:gd name="T18" fmla="*/ 102 w 262"/>
                <a:gd name="T19" fmla="*/ 7 h 271"/>
                <a:gd name="T20" fmla="*/ 60 w 262"/>
                <a:gd name="T21" fmla="*/ 0 h 271"/>
                <a:gd name="T22" fmla="*/ 39 w 262"/>
                <a:gd name="T23" fmla="*/ 0 h 271"/>
                <a:gd name="T24" fmla="*/ 28 w 262"/>
                <a:gd name="T25" fmla="*/ 1 h 271"/>
                <a:gd name="T26" fmla="*/ 17 w 262"/>
                <a:gd name="T27" fmla="*/ 2 h 271"/>
                <a:gd name="T28" fmla="*/ 5 w 262"/>
                <a:gd name="T29" fmla="*/ 34 h 271"/>
                <a:gd name="T30" fmla="*/ 155 w 262"/>
                <a:gd name="T31" fmla="*/ 216 h 271"/>
                <a:gd name="T32" fmla="*/ 259 w 262"/>
                <a:gd name="T33" fmla="*/ 24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2" h="271">
                  <a:moveTo>
                    <a:pt x="259" y="245"/>
                  </a:moveTo>
                  <a:cubicBezTo>
                    <a:pt x="261" y="232"/>
                    <a:pt x="262" y="217"/>
                    <a:pt x="261" y="200"/>
                  </a:cubicBezTo>
                  <a:cubicBezTo>
                    <a:pt x="261" y="194"/>
                    <a:pt x="260" y="186"/>
                    <a:pt x="259" y="180"/>
                  </a:cubicBezTo>
                  <a:cubicBezTo>
                    <a:pt x="258" y="176"/>
                    <a:pt x="257" y="171"/>
                    <a:pt x="256" y="167"/>
                  </a:cubicBezTo>
                  <a:cubicBezTo>
                    <a:pt x="256" y="164"/>
                    <a:pt x="255" y="160"/>
                    <a:pt x="254" y="157"/>
                  </a:cubicBezTo>
                  <a:cubicBezTo>
                    <a:pt x="251" y="145"/>
                    <a:pt x="247" y="136"/>
                    <a:pt x="242" y="124"/>
                  </a:cubicBezTo>
                  <a:cubicBezTo>
                    <a:pt x="237" y="113"/>
                    <a:pt x="230" y="102"/>
                    <a:pt x="226" y="96"/>
                  </a:cubicBezTo>
                  <a:cubicBezTo>
                    <a:pt x="222" y="90"/>
                    <a:pt x="216" y="80"/>
                    <a:pt x="203" y="67"/>
                  </a:cubicBezTo>
                  <a:cubicBezTo>
                    <a:pt x="196" y="59"/>
                    <a:pt x="187" y="51"/>
                    <a:pt x="178" y="44"/>
                  </a:cubicBezTo>
                  <a:cubicBezTo>
                    <a:pt x="162" y="32"/>
                    <a:pt x="136" y="16"/>
                    <a:pt x="102" y="7"/>
                  </a:cubicBezTo>
                  <a:cubicBezTo>
                    <a:pt x="97" y="6"/>
                    <a:pt x="81" y="2"/>
                    <a:pt x="60" y="0"/>
                  </a:cubicBezTo>
                  <a:cubicBezTo>
                    <a:pt x="57" y="0"/>
                    <a:pt x="49" y="0"/>
                    <a:pt x="39" y="0"/>
                  </a:cubicBezTo>
                  <a:cubicBezTo>
                    <a:pt x="35" y="0"/>
                    <a:pt x="31" y="1"/>
                    <a:pt x="28" y="1"/>
                  </a:cubicBezTo>
                  <a:cubicBezTo>
                    <a:pt x="24" y="1"/>
                    <a:pt x="20" y="2"/>
                    <a:pt x="17" y="2"/>
                  </a:cubicBezTo>
                  <a:cubicBezTo>
                    <a:pt x="5" y="4"/>
                    <a:pt x="0" y="15"/>
                    <a:pt x="5" y="34"/>
                  </a:cubicBezTo>
                  <a:cubicBezTo>
                    <a:pt x="18" y="82"/>
                    <a:pt x="85" y="163"/>
                    <a:pt x="155" y="216"/>
                  </a:cubicBezTo>
                  <a:cubicBezTo>
                    <a:pt x="214" y="261"/>
                    <a:pt x="256" y="271"/>
                    <a:pt x="259" y="245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ECC6A9C9-4C13-441E-809C-A908122B76A3}"/>
                </a:ext>
              </a:extLst>
            </p:cNvPr>
            <p:cNvSpPr/>
            <p:nvPr/>
          </p:nvSpPr>
          <p:spPr>
            <a:xfrm>
              <a:off x="6938772" y="1976734"/>
              <a:ext cx="617120" cy="617120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58FB64A9-B3DA-4028-AECC-6DB22C109EB8}"/>
                </a:ext>
              </a:extLst>
            </p:cNvPr>
            <p:cNvSpPr/>
            <p:nvPr/>
          </p:nvSpPr>
          <p:spPr>
            <a:xfrm>
              <a:off x="4041778" y="2286105"/>
              <a:ext cx="617120" cy="617120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2510687A-E33D-4431-9337-68C08D679C58}"/>
                </a:ext>
              </a:extLst>
            </p:cNvPr>
            <p:cNvSpPr/>
            <p:nvPr/>
          </p:nvSpPr>
          <p:spPr>
            <a:xfrm>
              <a:off x="6938772" y="4073175"/>
              <a:ext cx="617120" cy="617120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D85D3F90-1389-4472-80BA-1A6F3E6D6D3E}"/>
                </a:ext>
              </a:extLst>
            </p:cNvPr>
            <p:cNvSpPr/>
            <p:nvPr/>
          </p:nvSpPr>
          <p:spPr bwMode="auto">
            <a:xfrm>
              <a:off x="7086639" y="2112471"/>
              <a:ext cx="321386" cy="345643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04C202F7-9F6D-4B36-8361-FEC9A58A3756}"/>
                </a:ext>
              </a:extLst>
            </p:cNvPr>
            <p:cNvSpPr/>
            <p:nvPr/>
          </p:nvSpPr>
          <p:spPr>
            <a:xfrm>
              <a:off x="4213475" y="4073175"/>
              <a:ext cx="617120" cy="617120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1C63368F-5F0D-4D48-8869-45451B2C5C1F}"/>
                </a:ext>
              </a:extLst>
            </p:cNvPr>
            <p:cNvSpPr/>
            <p:nvPr/>
          </p:nvSpPr>
          <p:spPr bwMode="auto">
            <a:xfrm>
              <a:off x="7086639" y="4208912"/>
              <a:ext cx="321386" cy="345643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3" name="矩形 22">
              <a:extLst>
                <a:ext uri="{FF2B5EF4-FFF2-40B4-BE49-F238E27FC236}">
                  <a16:creationId xmlns:a16="http://schemas.microsoft.com/office/drawing/2014/main" id="{34B4142B-28CE-4F5D-BADE-8EFBA632FFCC}"/>
                </a:ext>
              </a:extLst>
            </p:cNvPr>
            <p:cNvSpPr/>
            <p:nvPr/>
          </p:nvSpPr>
          <p:spPr bwMode="auto">
            <a:xfrm>
              <a:off x="687663" y="2686211"/>
              <a:ext cx="3082200" cy="718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600" dirty="0">
                  <a:cs typeface="+mn-ea"/>
                  <a:sym typeface="+mn-lt"/>
                </a:rPr>
                <a:t>聚合单元数据统计</a:t>
              </a:r>
              <a:endParaRPr lang="en-US" altLang="zh-CN" sz="1600" dirty="0">
                <a:cs typeface="+mn-ea"/>
                <a:sym typeface="+mn-lt"/>
              </a:endParaRP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600" dirty="0">
                  <a:cs typeface="+mn-ea"/>
                  <a:sym typeface="+mn-lt"/>
                </a:rPr>
                <a:t>桩实时接口接收，存储，统计</a:t>
              </a:r>
              <a:endParaRPr lang="en-US" altLang="zh-CN" sz="1600" dirty="0">
                <a:cs typeface="+mn-ea"/>
                <a:sym typeface="+mn-lt"/>
              </a:endParaRPr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AB57507C-73C7-422F-826B-F8C6E4D40498}"/>
                </a:ext>
              </a:extLst>
            </p:cNvPr>
            <p:cNvSpPr/>
            <p:nvPr/>
          </p:nvSpPr>
          <p:spPr bwMode="auto">
            <a:xfrm>
              <a:off x="4361343" y="4208912"/>
              <a:ext cx="321386" cy="345643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02ABA4AD-269F-4579-BED5-4B90FA304531}"/>
                </a:ext>
              </a:extLst>
            </p:cNvPr>
            <p:cNvSpPr/>
            <p:nvPr/>
          </p:nvSpPr>
          <p:spPr bwMode="auto">
            <a:xfrm>
              <a:off x="4189646" y="2421842"/>
              <a:ext cx="321386" cy="345643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6" name="文本框 25">
              <a:extLst>
                <a:ext uri="{FF2B5EF4-FFF2-40B4-BE49-F238E27FC236}">
                  <a16:creationId xmlns:a16="http://schemas.microsoft.com/office/drawing/2014/main" id="{8B6AA00D-5B2D-4632-8DE9-ABCB7BA511A2}"/>
                </a:ext>
              </a:extLst>
            </p:cNvPr>
            <p:cNvSpPr txBox="1"/>
            <p:nvPr/>
          </p:nvSpPr>
          <p:spPr bwMode="auto">
            <a:xfrm>
              <a:off x="704001" y="1955518"/>
              <a:ext cx="2972517" cy="8119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3200" b="1" dirty="0">
                  <a:cs typeface="+mn-ea"/>
                  <a:sym typeface="+mn-lt"/>
                </a:rPr>
                <a:t>桩实时数据</a:t>
              </a:r>
              <a:endParaRPr lang="en-US" altLang="zh-CN" sz="3200" b="1" dirty="0">
                <a:cs typeface="+mn-ea"/>
                <a:sym typeface="+mn-lt"/>
              </a:endParaRPr>
            </a:p>
          </p:txBody>
        </p:sp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E55EB4C0-A038-4C35-8000-CC6BB38040E4}"/>
                </a:ext>
              </a:extLst>
            </p:cNvPr>
            <p:cNvSpPr/>
            <p:nvPr/>
          </p:nvSpPr>
          <p:spPr bwMode="auto">
            <a:xfrm>
              <a:off x="687663" y="4510867"/>
              <a:ext cx="3082200" cy="718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600" dirty="0">
                  <a:cs typeface="+mn-ea"/>
                  <a:sym typeface="+mn-lt"/>
                </a:rPr>
                <a:t>相应的数据展示，存储</a:t>
              </a:r>
              <a:endParaRPr lang="en-US" altLang="zh-CN" sz="1600" dirty="0">
                <a:cs typeface="+mn-ea"/>
                <a:sym typeface="+mn-lt"/>
              </a:endParaRP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600" dirty="0">
                  <a:cs typeface="+mn-ea"/>
                  <a:sym typeface="+mn-lt"/>
                </a:rPr>
                <a:t>对外接口开发</a:t>
              </a:r>
              <a:endParaRPr lang="en-US" altLang="zh-CN" sz="1600" dirty="0">
                <a:cs typeface="+mn-ea"/>
                <a:sym typeface="+mn-lt"/>
              </a:endParaRPr>
            </a:p>
          </p:txBody>
        </p:sp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2A501870-089C-43D4-9641-E3DA7A400B5F}"/>
                </a:ext>
              </a:extLst>
            </p:cNvPr>
            <p:cNvSpPr txBox="1"/>
            <p:nvPr/>
          </p:nvSpPr>
          <p:spPr bwMode="auto">
            <a:xfrm>
              <a:off x="863813" y="3703625"/>
              <a:ext cx="3082200" cy="6781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3200" b="1" dirty="0">
                  <a:cs typeface="+mn-ea"/>
                  <a:sym typeface="+mn-lt"/>
                </a:rPr>
                <a:t>需求响应</a:t>
              </a:r>
              <a:endParaRPr lang="en-US" altLang="zh-CN" sz="3200" b="1" dirty="0">
                <a:cs typeface="+mn-ea"/>
                <a:sym typeface="+mn-lt"/>
              </a:endParaRPr>
            </a:p>
          </p:txBody>
        </p:sp>
        <p:sp>
          <p:nvSpPr>
            <p:cNvPr id="29" name="矩形 28">
              <a:extLst>
                <a:ext uri="{FF2B5EF4-FFF2-40B4-BE49-F238E27FC236}">
                  <a16:creationId xmlns:a16="http://schemas.microsoft.com/office/drawing/2014/main" id="{2CE1822C-5C9C-4BA8-B721-C9141ABB528F}"/>
                </a:ext>
              </a:extLst>
            </p:cNvPr>
            <p:cNvSpPr/>
            <p:nvPr/>
          </p:nvSpPr>
          <p:spPr bwMode="auto">
            <a:xfrm>
              <a:off x="8424249" y="2704825"/>
              <a:ext cx="3082200" cy="718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600" dirty="0">
                  <a:cs typeface="+mn-ea"/>
                  <a:sym typeface="+mn-lt"/>
                </a:rPr>
                <a:t>新增，修改</a:t>
              </a:r>
              <a:endParaRPr lang="en-US" altLang="zh-CN" sz="1600" dirty="0">
                <a:cs typeface="+mn-ea"/>
                <a:sym typeface="+mn-lt"/>
              </a:endParaRPr>
            </a:p>
            <a:p>
              <a:pPr marL="17145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600" dirty="0">
                  <a:cs typeface="+mn-ea"/>
                  <a:sym typeface="+mn-lt"/>
                </a:rPr>
                <a:t>历史数据</a:t>
              </a:r>
              <a:endParaRPr lang="en-US" altLang="zh-CN" sz="1600" dirty="0">
                <a:cs typeface="+mn-ea"/>
                <a:sym typeface="+mn-lt"/>
              </a:endParaRPr>
            </a:p>
          </p:txBody>
        </p:sp>
        <p:sp>
          <p:nvSpPr>
            <p:cNvPr id="30" name="文本框 29">
              <a:extLst>
                <a:ext uri="{FF2B5EF4-FFF2-40B4-BE49-F238E27FC236}">
                  <a16:creationId xmlns:a16="http://schemas.microsoft.com/office/drawing/2014/main" id="{0EB0075A-751F-4F6C-A626-197A47FFFEDD}"/>
                </a:ext>
              </a:extLst>
            </p:cNvPr>
            <p:cNvSpPr txBox="1"/>
            <p:nvPr/>
          </p:nvSpPr>
          <p:spPr bwMode="auto">
            <a:xfrm>
              <a:off x="8420643" y="2044327"/>
              <a:ext cx="3082200" cy="4192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3200" b="1" dirty="0">
                  <a:cs typeface="+mn-ea"/>
                  <a:sym typeface="+mn-lt"/>
                </a:rPr>
                <a:t>签约关系</a:t>
              </a:r>
              <a:endParaRPr lang="en-US" altLang="zh-CN" sz="3200" b="1" dirty="0">
                <a:cs typeface="+mn-ea"/>
                <a:sym typeface="+mn-lt"/>
              </a:endParaRPr>
            </a:p>
          </p:txBody>
        </p:sp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D79B7C85-E96C-45D5-BF4A-10AA53A567BE}"/>
                </a:ext>
              </a:extLst>
            </p:cNvPr>
            <p:cNvSpPr/>
            <p:nvPr/>
          </p:nvSpPr>
          <p:spPr bwMode="auto">
            <a:xfrm>
              <a:off x="8438288" y="4510867"/>
              <a:ext cx="3082200" cy="718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600" dirty="0">
                  <a:cs typeface="+mn-ea"/>
                  <a:sym typeface="+mn-lt"/>
                </a:rPr>
                <a:t>查询，存储</a:t>
              </a:r>
              <a:endParaRPr lang="en-US" altLang="zh-CN" sz="1600" dirty="0">
                <a:cs typeface="+mn-ea"/>
                <a:sym typeface="+mn-lt"/>
              </a:endParaRPr>
            </a:p>
          </p:txBody>
        </p:sp>
        <p:sp>
          <p:nvSpPr>
            <p:cNvPr id="32" name="文本框 31">
              <a:extLst>
                <a:ext uri="{FF2B5EF4-FFF2-40B4-BE49-F238E27FC236}">
                  <a16:creationId xmlns:a16="http://schemas.microsoft.com/office/drawing/2014/main" id="{B27DF7C9-66A4-4619-9C5E-3652C1759A7F}"/>
                </a:ext>
              </a:extLst>
            </p:cNvPr>
            <p:cNvSpPr txBox="1"/>
            <p:nvPr/>
          </p:nvSpPr>
          <p:spPr bwMode="auto">
            <a:xfrm>
              <a:off x="8438288" y="3933801"/>
              <a:ext cx="3082200" cy="4192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3200" b="1" dirty="0">
                  <a:cs typeface="+mn-ea"/>
                  <a:sym typeface="+mn-lt"/>
                </a:rPr>
                <a:t>运营商</a:t>
              </a:r>
              <a:endParaRPr lang="en-US" altLang="zh-CN" sz="3200" b="1" dirty="0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90876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218115" y="2528209"/>
            <a:ext cx="4791016" cy="895350"/>
          </a:xfrm>
        </p:spPr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提升点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218115" y="3423559"/>
            <a:ext cx="4791016" cy="1015623"/>
          </a:xfrm>
        </p:spPr>
        <p:txBody>
          <a:bodyPr/>
          <a:lstStyle/>
          <a:p>
            <a:pPr lvl="0"/>
            <a:r>
              <a:rPr lang="zh-CN" altLang="en-US" dirty="0">
                <a:cs typeface="+mn-ea"/>
                <a:sym typeface="+mn-lt"/>
              </a:rPr>
              <a:t>在这</a:t>
            </a:r>
            <a:r>
              <a:rPr lang="en-US" altLang="zh-CN" dirty="0">
                <a:cs typeface="+mn-ea"/>
                <a:sym typeface="+mn-lt"/>
              </a:rPr>
              <a:t>3</a:t>
            </a:r>
            <a:r>
              <a:rPr lang="zh-CN" altLang="en-US" dirty="0">
                <a:cs typeface="+mn-ea"/>
                <a:sym typeface="+mn-lt"/>
              </a:rPr>
              <a:t>个月中学到了什么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74177" y="308270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/03</a:t>
            </a:r>
            <a:endParaRPr lang="zh-CN" altLang="en-US" spc="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059420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SHOWCASE" val="1c61bedf-65b4-407f-a851-36b82157dce0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241FAA"/>
      </a:accent1>
      <a:accent2>
        <a:srgbClr val="FFBB00"/>
      </a:accent2>
      <a:accent3>
        <a:srgbClr val="F8DF9A"/>
      </a:accent3>
      <a:accent4>
        <a:srgbClr val="4B4AA7"/>
      </a:accent4>
      <a:accent5>
        <a:srgbClr val="918FD2"/>
      </a:accent5>
      <a:accent6>
        <a:srgbClr val="768394"/>
      </a:accent6>
      <a:hlink>
        <a:srgbClr val="4276AA"/>
      </a:hlink>
      <a:folHlink>
        <a:srgbClr val="BFBFBF"/>
      </a:folHlink>
    </a:clrScheme>
    <a:fontScheme name="1wzdhweu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41FAA"/>
    </a:accent1>
    <a:accent2>
      <a:srgbClr val="FFBB00"/>
    </a:accent2>
    <a:accent3>
      <a:srgbClr val="F8DF9A"/>
    </a:accent3>
    <a:accent4>
      <a:srgbClr val="4B4AA7"/>
    </a:accent4>
    <a:accent5>
      <a:srgbClr val="918FD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41FAA"/>
    </a:accent1>
    <a:accent2>
      <a:srgbClr val="FFBB00"/>
    </a:accent2>
    <a:accent3>
      <a:srgbClr val="F8DF9A"/>
    </a:accent3>
    <a:accent4>
      <a:srgbClr val="4B4AA7"/>
    </a:accent4>
    <a:accent5>
      <a:srgbClr val="918FD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41FAA"/>
    </a:accent1>
    <a:accent2>
      <a:srgbClr val="FFBB00"/>
    </a:accent2>
    <a:accent3>
      <a:srgbClr val="F8DF9A"/>
    </a:accent3>
    <a:accent4>
      <a:srgbClr val="4B4AA7"/>
    </a:accent4>
    <a:accent5>
      <a:srgbClr val="918FD2"/>
    </a:accent5>
    <a:accent6>
      <a:srgbClr val="768394"/>
    </a:accent6>
    <a:hlink>
      <a:srgbClr val="4276AA"/>
    </a:hlink>
    <a:folHlink>
      <a:srgbClr val="BFBFB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7934b4b-eba6-486d-bfc1-4b8e3fe39092" xsi:nil="true"/>
    <lcf76f155ced4ddcb4097134ff3c332f xmlns="0a5c0dea-e5d7-4228-9256-3793bb42faa5">
      <Terms xmlns="http://schemas.microsoft.com/office/infopath/2007/PartnerControls"/>
    </lcf76f155ced4ddcb4097134ff3c332f>
    <OneNoteFluid_FileOrder xmlns="0a5c0dea-e5d7-4228-9256-3793bb42faa5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1443A8EF62DE444B1FF07917E22EF72" ma:contentTypeVersion="15" ma:contentTypeDescription="Create a new document." ma:contentTypeScope="" ma:versionID="93a012c9a81027335424ba9f7b4858de">
  <xsd:schema xmlns:xsd="http://www.w3.org/2001/XMLSchema" xmlns:xs="http://www.w3.org/2001/XMLSchema" xmlns:p="http://schemas.microsoft.com/office/2006/metadata/properties" xmlns:ns2="0a5c0dea-e5d7-4228-9256-3793bb42faa5" xmlns:ns3="97934b4b-eba6-486d-bfc1-4b8e3fe39092" targetNamespace="http://schemas.microsoft.com/office/2006/metadata/properties" ma:root="true" ma:fieldsID="9a709ec72f4fcd18515a248f36769751" ns2:_="" ns3:_="">
    <xsd:import namespace="0a5c0dea-e5d7-4228-9256-3793bb42faa5"/>
    <xsd:import namespace="97934b4b-eba6-486d-bfc1-4b8e3fe39092"/>
    <xsd:element name="properties">
      <xsd:complexType>
        <xsd:sequence>
          <xsd:element name="documentManagement">
            <xsd:complexType>
              <xsd:all>
                <xsd:element ref="ns2:OneNoteFluid_FileOrder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5c0dea-e5d7-4228-9256-3793bb42faa5" elementFormDefault="qualified">
    <xsd:import namespace="http://schemas.microsoft.com/office/2006/documentManagement/types"/>
    <xsd:import namespace="http://schemas.microsoft.com/office/infopath/2007/PartnerControls"/>
    <xsd:element name="OneNoteFluid_FileOrder" ma:index="8" nillable="true" ma:displayName="OneNoteFluid_FileOrder" ma:internalName="OneNoteFluid_FileOrder">
      <xsd:simpleType>
        <xsd:restriction base="dms:Text">
          <xsd:maxLength value="255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934b4b-eba6-486d-bfc1-4b8e3fe39092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a885aa0b-334b-483f-9125-6409c6335a4b}" ma:internalName="TaxCatchAll" ma:showField="CatchAllData" ma:web="97934b4b-eba6-486d-bfc1-4b8e3fe3909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1FAB332-01D5-4E9B-958D-91E4AD2BD0A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5ED6131-7463-4B49-88A9-26106DC7F057}">
  <ds:schemaRefs>
    <ds:schemaRef ds:uri="http://schemas.microsoft.com/office/2006/metadata/properties"/>
    <ds:schemaRef ds:uri="http://schemas.microsoft.com/office/infopath/2007/PartnerControls"/>
    <ds:schemaRef ds:uri="97934b4b-eba6-486d-bfc1-4b8e3fe39092"/>
    <ds:schemaRef ds:uri="0a5c0dea-e5d7-4228-9256-3793bb42faa5"/>
  </ds:schemaRefs>
</ds:datastoreItem>
</file>

<file path=customXml/itemProps3.xml><?xml version="1.0" encoding="utf-8"?>
<ds:datastoreItem xmlns:ds="http://schemas.openxmlformats.org/officeDocument/2006/customXml" ds:itemID="{A1B06352-2EC3-44DB-9E0D-3DD466F3477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a5c0dea-e5d7-4228-9256-3793bb42faa5"/>
    <ds:schemaRef ds:uri="97934b4b-eba6-486d-bfc1-4b8e3fe3909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296</TotalTime>
  <Words>435</Words>
  <Application>Microsoft Office PowerPoint</Application>
  <PresentationFormat>宽屏</PresentationFormat>
  <Paragraphs>117</Paragraphs>
  <Slides>17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7</vt:i4>
      </vt:variant>
    </vt:vector>
  </HeadingPairs>
  <TitlesOfParts>
    <vt:vector size="22" baseType="lpstr">
      <vt:lpstr>等线</vt:lpstr>
      <vt:lpstr>Arial</vt:lpstr>
      <vt:lpstr>Calibri</vt:lpstr>
      <vt:lpstr>主题5</vt:lpstr>
      <vt:lpstr>think-cell Slide</vt:lpstr>
      <vt:lpstr>述职答辩  答辩人：陈仲贤   入职时间：2022.07.19</vt:lpstr>
      <vt:lpstr>PowerPoint 演示文稿</vt:lpstr>
      <vt:lpstr>营销微应用服务平台</vt:lpstr>
      <vt:lpstr>负责工作</vt:lpstr>
      <vt:lpstr>负责开发</vt:lpstr>
      <vt:lpstr>Click to edit Master title style</vt:lpstr>
      <vt:lpstr>车网互动公共服务平台</vt:lpstr>
      <vt:lpstr>负责模块</vt:lpstr>
      <vt:lpstr>提升点</vt:lpstr>
      <vt:lpstr>提升点</vt:lpstr>
      <vt:lpstr>实时方案说明</vt:lpstr>
      <vt:lpstr>历史方案说明</vt:lpstr>
      <vt:lpstr>不足之处</vt:lpstr>
      <vt:lpstr>不足之处</vt:lpstr>
      <vt:lpstr>未来规划</vt:lpstr>
      <vt:lpstr>未来规划--提高技术深度</vt:lpstr>
      <vt:lpstr>THANKS AND YOUR SLOGAN HERE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陈 仲贤</cp:lastModifiedBy>
  <cp:revision>87</cp:revision>
  <cp:lastPrinted>2020-02-17T16:00:00Z</cp:lastPrinted>
  <dcterms:created xsi:type="dcterms:W3CDTF">2020-02-17T16:00:00Z</dcterms:created>
  <dcterms:modified xsi:type="dcterms:W3CDTF">2022-10-13T11:26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ContentTypeId">
    <vt:lpwstr>0x010100D1443A8EF62DE444B1FF07917E22EF72</vt:lpwstr>
  </property>
</Properties>
</file>